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3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4.xml" ContentType="application/vnd.openxmlformats-officedocument.theme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5.xml" ContentType="application/vnd.openxmlformats-officedocument.theme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6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heme/themeOverride1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6" r:id="rId4"/>
    <p:sldMasterId id="2147483690" r:id="rId5"/>
    <p:sldMasterId id="2147483706" r:id="rId6"/>
    <p:sldMasterId id="2147483736" r:id="rId7"/>
    <p:sldMasterId id="2147483765" r:id="rId8"/>
    <p:sldMasterId id="2147483826" r:id="rId9"/>
    <p:sldMasterId id="2147483856" r:id="rId10"/>
  </p:sldMasterIdLst>
  <p:notesMasterIdLst>
    <p:notesMasterId r:id="rId19"/>
  </p:notesMasterIdLst>
  <p:sldIdLst>
    <p:sldId id="256" r:id="rId11"/>
    <p:sldId id="2145711125" r:id="rId12"/>
    <p:sldId id="2032093606" r:id="rId13"/>
    <p:sldId id="4101" r:id="rId14"/>
    <p:sldId id="2145711119" r:id="rId15"/>
    <p:sldId id="2145711120" r:id="rId16"/>
    <p:sldId id="2145711121" r:id="rId17"/>
    <p:sldId id="2145711123" r:id="rId18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532B"/>
    <a:srgbClr val="D60F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352"/>
    <p:restoredTop sz="94620"/>
  </p:normalViewPr>
  <p:slideViewPr>
    <p:cSldViewPr snapToGrid="0">
      <p:cViewPr varScale="1">
        <p:scale>
          <a:sx n="59" d="100"/>
          <a:sy n="59" d="100"/>
        </p:scale>
        <p:origin x="1364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5.xml"/><Relationship Id="rId23" Type="http://schemas.openxmlformats.org/officeDocument/2006/relationships/tableStyles" Target="tableStyles.xml"/><Relationship Id="rId10" Type="http://schemas.openxmlformats.org/officeDocument/2006/relationships/slideMaster" Target="slideMasters/slideMaster7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4.xml"/><Relationship Id="rId22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89C1CAF-CC1E-6646-BE32-92487F6926FE}" type="datetimeFigureOut">
              <a:rPr lang="en-US" smtClean="0"/>
              <a:t>5/16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1098902-6FC1-174D-8B2C-1F8BBBEB17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18174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649113F-0DCE-7D40-9684-257778C5150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A24A903-D270-4BF2-87B0-A14A94336A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273334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098902-6FC1-174D-8B2C-1F8BBBEB173C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5941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098902-6FC1-174D-8B2C-1F8BBBEB173C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58911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5CAA694-9CF2-448C-9DD7-5B2ADFB6B78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65125" y="1159776"/>
            <a:ext cx="8778875" cy="511853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PH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FAE50819-6FE0-9D4E-A69A-F2D953A780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8335" y="5169"/>
            <a:ext cx="7853641" cy="836441"/>
          </a:xfrm>
          <a:prstGeom prst="rect">
            <a:avLst/>
          </a:prstGeom>
          <a:noFill/>
        </p:spPr>
        <p:txBody>
          <a:bodyPr vert="horz" lIns="228600" tIns="45720" rIns="91440" bIns="45720" rtlCol="0" anchor="b" anchorCtr="0">
            <a:normAutofit/>
          </a:bodyPr>
          <a:lstStyle>
            <a:lvl1pPr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684269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D0C6CEF-3F30-5644-AEEC-4228C0B921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20842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D0C6CEF-3F30-5644-AEEC-4228C0B921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479580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26464" y="65438"/>
            <a:ext cx="7088886" cy="7710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D0C6CEF-3F30-5644-AEEC-4228C0B921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510755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D0C6CEF-3F30-5644-AEEC-4228C0B921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76884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5CAA694-9CF2-448C-9DD7-5B2ADFB6B78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65125" y="1159776"/>
            <a:ext cx="8778875" cy="511853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PH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FAE50819-6FE0-9D4E-A69A-F2D953A780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5169"/>
            <a:ext cx="7853641" cy="836441"/>
          </a:xfrm>
          <a:prstGeom prst="rect">
            <a:avLst/>
          </a:prstGeom>
          <a:noFill/>
        </p:spPr>
        <p:txBody>
          <a:bodyPr vert="horz" lIns="228600" tIns="45720" rIns="91440" bIns="45720" rtlCol="0" anchor="b" anchorCtr="0">
            <a:normAutofit/>
          </a:bodyPr>
          <a:lstStyle>
            <a:lvl1pPr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6469905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5CAA694-9CF2-448C-9DD7-5B2ADFB6B78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92088" y="1014413"/>
            <a:ext cx="4343463" cy="566102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PH"/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5016A314-FD99-4353-820B-236C95EC4D97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654232" y="1014412"/>
            <a:ext cx="4343463" cy="566102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PH"/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7F6F1F82-4893-3C4B-A120-B0797AAEF9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088" y="5169"/>
            <a:ext cx="7853641" cy="836441"/>
          </a:xfrm>
          <a:prstGeom prst="rect">
            <a:avLst/>
          </a:prstGeom>
          <a:noFill/>
        </p:spPr>
        <p:txBody>
          <a:bodyPr vert="horz" lIns="228600" tIns="45720" rIns="91440" bIns="45720" rtlCol="0" anchor="b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5989367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1541047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844723" y="633961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06714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0C6CEF-3F30-5644-AEEC-4228C0B921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509193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D0C6CEF-3F30-5644-AEEC-4228C0B92182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BEC6C488-40AB-4143-AEF4-8973E4B899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2329" y="5169"/>
            <a:ext cx="7853641" cy="836441"/>
          </a:xfrm>
          <a:prstGeom prst="rect">
            <a:avLst/>
          </a:prstGeom>
          <a:noFill/>
        </p:spPr>
        <p:txBody>
          <a:bodyPr vert="horz" lIns="228600" tIns="45720" rIns="91440" bIns="45720" rtlCol="0" anchor="b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9707530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D0C6CEF-3F30-5644-AEEC-4228C0B921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50341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5CAA694-9CF2-448C-9DD7-5B2ADFB6B78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92088" y="1014413"/>
            <a:ext cx="4343463" cy="566102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PH"/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5016A314-FD99-4353-820B-236C95EC4D97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654232" y="1014412"/>
            <a:ext cx="4343463" cy="566102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PH"/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7F6F1F82-4893-3C4B-A120-B0797AAEF9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8335" y="5169"/>
            <a:ext cx="7853641" cy="836441"/>
          </a:xfrm>
          <a:prstGeom prst="rect">
            <a:avLst/>
          </a:prstGeom>
          <a:noFill/>
        </p:spPr>
        <p:txBody>
          <a:bodyPr vert="horz" lIns="228600" tIns="45720" rIns="91440" bIns="45720" rtlCol="0" anchor="b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6574358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lowchart: Merge 5">
            <a:extLst>
              <a:ext uri="{FF2B5EF4-FFF2-40B4-BE49-F238E27FC236}">
                <a16:creationId xmlns:a16="http://schemas.microsoft.com/office/drawing/2014/main" id="{50809C12-B54F-40B7-9E49-04CDE88DC76E}"/>
              </a:ext>
            </a:extLst>
          </p:cNvPr>
          <p:cNvSpPr/>
          <p:nvPr userDrawn="1"/>
        </p:nvSpPr>
        <p:spPr>
          <a:xfrm rot="5400000">
            <a:off x="1399349" y="443484"/>
            <a:ext cx="365125" cy="365125"/>
          </a:xfrm>
          <a:prstGeom prst="flowChartMerg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1912" y="-9144"/>
            <a:ext cx="7562088" cy="905256"/>
          </a:xfrm>
          <a:prstGeom prst="rect">
            <a:avLst/>
          </a:prstGeom>
          <a:solidFill>
            <a:schemeClr val="accent1"/>
          </a:solidFill>
        </p:spPr>
        <p:txBody>
          <a:bodyPr>
            <a:normAutofit/>
          </a:bodyPr>
          <a:lstStyle>
            <a:lvl1pPr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D0C6CEF-3F30-5644-AEEC-4228C0B921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780061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D0C6CEF-3F30-5644-AEEC-4228C0B921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618283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5073069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D0C6CEF-3F30-5644-AEEC-4228C0B921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662227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D0C6CEF-3F30-5644-AEEC-4228C0B921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224570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26464" y="65438"/>
            <a:ext cx="7088886" cy="7710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D0C6CEF-3F30-5644-AEEC-4228C0B921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231834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D0C6CEF-3F30-5644-AEEC-4228C0B921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719389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5CAA694-9CF2-448C-9DD7-5B2ADFB6B78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65125" y="1159776"/>
            <a:ext cx="8778875" cy="511853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PH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FAE50819-6FE0-9D4E-A69A-F2D953A780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5169"/>
            <a:ext cx="7853641" cy="836441"/>
          </a:xfrm>
          <a:prstGeom prst="rect">
            <a:avLst/>
          </a:prstGeom>
          <a:noFill/>
        </p:spPr>
        <p:txBody>
          <a:bodyPr vert="horz" lIns="228600" tIns="45720" rIns="91440" bIns="45720" rtlCol="0" anchor="b" anchorCtr="0">
            <a:normAutofit/>
          </a:bodyPr>
          <a:lstStyle>
            <a:lvl1pPr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4783199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5CAA694-9CF2-448C-9DD7-5B2ADFB6B78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92088" y="1014413"/>
            <a:ext cx="4343463" cy="566102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PH"/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5016A314-FD99-4353-820B-236C95EC4D97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654232" y="1014412"/>
            <a:ext cx="4343463" cy="566102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PH"/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7F6F1F82-4893-3C4B-A120-B0797AAEF9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088" y="5169"/>
            <a:ext cx="7853641" cy="836441"/>
          </a:xfrm>
          <a:prstGeom prst="rect">
            <a:avLst/>
          </a:prstGeom>
          <a:noFill/>
        </p:spPr>
        <p:txBody>
          <a:bodyPr vert="horz" lIns="228600" tIns="45720" rIns="91440" bIns="45720" rtlCol="0" anchor="b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0045026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798509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033975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844723" y="633961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06714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0C6CEF-3F30-5644-AEEC-4228C0B921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539424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D0C6CEF-3F30-5644-AEEC-4228C0B92182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BEC6C488-40AB-4143-AEF4-8973E4B899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2329" y="5169"/>
            <a:ext cx="7853641" cy="836441"/>
          </a:xfrm>
          <a:prstGeom prst="rect">
            <a:avLst/>
          </a:prstGeom>
          <a:noFill/>
        </p:spPr>
        <p:txBody>
          <a:bodyPr vert="horz" lIns="228600" tIns="45720" rIns="91440" bIns="45720" rtlCol="0" anchor="b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5679159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D0C6CEF-3F30-5644-AEEC-4228C0B921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051908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lowchart: Merge 5">
            <a:extLst>
              <a:ext uri="{FF2B5EF4-FFF2-40B4-BE49-F238E27FC236}">
                <a16:creationId xmlns:a16="http://schemas.microsoft.com/office/drawing/2014/main" id="{50809C12-B54F-40B7-9E49-04CDE88DC76E}"/>
              </a:ext>
            </a:extLst>
          </p:cNvPr>
          <p:cNvSpPr/>
          <p:nvPr userDrawn="1"/>
        </p:nvSpPr>
        <p:spPr>
          <a:xfrm rot="5400000">
            <a:off x="1399349" y="443484"/>
            <a:ext cx="365125" cy="365125"/>
          </a:xfrm>
          <a:prstGeom prst="flowChartMerg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1912" y="-9144"/>
            <a:ext cx="7562088" cy="905256"/>
          </a:xfrm>
          <a:prstGeom prst="rect">
            <a:avLst/>
          </a:prstGeom>
          <a:solidFill>
            <a:schemeClr val="accent1"/>
          </a:solidFill>
        </p:spPr>
        <p:txBody>
          <a:bodyPr>
            <a:normAutofit/>
          </a:bodyPr>
          <a:lstStyle>
            <a:lvl1pPr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D0C6CEF-3F30-5644-AEEC-4228C0B921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866800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D0C6CEF-3F30-5644-AEEC-4228C0B921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577223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0179644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D0C6CEF-3F30-5644-AEEC-4228C0B921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719646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D0C6CEF-3F30-5644-AEEC-4228C0B921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857285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26464" y="65438"/>
            <a:ext cx="7088886" cy="7710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D0C6CEF-3F30-5644-AEEC-4228C0B921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62976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D0C6CEF-3F30-5644-AEEC-4228C0B921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830843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844723" y="633961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06714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0C6CEF-3F30-5644-AEEC-4228C0B921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058891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1992922" y="1953220"/>
            <a:ext cx="917972" cy="1223963"/>
          </a:xfrm>
        </p:spPr>
        <p:txBody>
          <a:bodyPr/>
          <a:lstStyle/>
          <a:p>
            <a:pPr lvl="0"/>
            <a:endParaRPr lang="en-US" noProof="0">
              <a:sym typeface="Poppins" charset="0"/>
            </a:endParaRP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3099748" y="1953220"/>
            <a:ext cx="917972" cy="1223963"/>
          </a:xfrm>
        </p:spPr>
        <p:txBody>
          <a:bodyPr/>
          <a:lstStyle/>
          <a:p>
            <a:pPr lvl="0"/>
            <a:endParaRPr lang="en-US" noProof="0">
              <a:sym typeface="Poppins" charset="0"/>
            </a:endParaRP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4193958" y="1953220"/>
            <a:ext cx="917972" cy="1223963"/>
          </a:xfrm>
        </p:spPr>
        <p:txBody>
          <a:bodyPr/>
          <a:lstStyle/>
          <a:p>
            <a:pPr lvl="0"/>
            <a:endParaRPr lang="en-US" noProof="0">
              <a:sym typeface="Poppins" charset="0"/>
            </a:endParaRP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5300784" y="1953220"/>
            <a:ext cx="917972" cy="1223963"/>
          </a:xfrm>
        </p:spPr>
        <p:txBody>
          <a:bodyPr/>
          <a:lstStyle/>
          <a:p>
            <a:pPr lvl="0"/>
            <a:endParaRPr lang="en-US" noProof="0">
              <a:sym typeface="Poppins" charset="0"/>
            </a:endParaRPr>
          </a:p>
        </p:txBody>
      </p:sp>
      <p:sp>
        <p:nvSpPr>
          <p:cNvPr id="8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6407610" y="1953220"/>
            <a:ext cx="917972" cy="1223963"/>
          </a:xfrm>
        </p:spPr>
        <p:txBody>
          <a:bodyPr/>
          <a:lstStyle/>
          <a:p>
            <a:pPr lvl="0"/>
            <a:endParaRPr lang="en-US" noProof="0">
              <a:sym typeface="Poppins" charset="0"/>
            </a:endParaRPr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1992922" y="3429001"/>
            <a:ext cx="917972" cy="1223963"/>
          </a:xfrm>
        </p:spPr>
        <p:txBody>
          <a:bodyPr/>
          <a:lstStyle/>
          <a:p>
            <a:pPr lvl="0"/>
            <a:endParaRPr lang="en-US" noProof="0">
              <a:sym typeface="Poppins" charset="0"/>
            </a:endParaRPr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3099748" y="3429001"/>
            <a:ext cx="917972" cy="1223963"/>
          </a:xfrm>
        </p:spPr>
        <p:txBody>
          <a:bodyPr/>
          <a:lstStyle/>
          <a:p>
            <a:pPr lvl="0"/>
            <a:endParaRPr lang="en-US" noProof="0">
              <a:sym typeface="Poppins" charset="0"/>
            </a:endParaRP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193958" y="3429001"/>
            <a:ext cx="917972" cy="1223963"/>
          </a:xfrm>
        </p:spPr>
        <p:txBody>
          <a:bodyPr/>
          <a:lstStyle/>
          <a:p>
            <a:pPr lvl="0"/>
            <a:endParaRPr lang="en-US" noProof="0">
              <a:sym typeface="Poppins" charset="0"/>
            </a:endParaRPr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5300784" y="3429001"/>
            <a:ext cx="917972" cy="1223963"/>
          </a:xfrm>
        </p:spPr>
        <p:txBody>
          <a:bodyPr/>
          <a:lstStyle/>
          <a:p>
            <a:pPr lvl="0"/>
            <a:endParaRPr lang="en-US" noProof="0">
              <a:sym typeface="Poppins" charset="0"/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6407610" y="3429001"/>
            <a:ext cx="917972" cy="1223963"/>
          </a:xfrm>
        </p:spPr>
        <p:txBody>
          <a:bodyPr/>
          <a:lstStyle/>
          <a:p>
            <a:pPr lvl="0"/>
            <a:endParaRPr lang="en-US" noProof="0">
              <a:sym typeface="Poppins" charset="0"/>
            </a:endParaRPr>
          </a:p>
        </p:txBody>
      </p:sp>
      <p:sp>
        <p:nvSpPr>
          <p:cNvPr id="14" name="Rectangle 13"/>
          <p:cNvSpPr>
            <a:spLocks noGrp="1"/>
          </p:cNvSpPr>
          <p:nvPr>
            <p:ph type="sldNum" sz="quarter" idx="21"/>
          </p:nvPr>
        </p:nvSpPr>
        <p:spPr>
          <a:xfrm>
            <a:off x="8454628" y="6248400"/>
            <a:ext cx="335757" cy="241300"/>
          </a:xfrm>
        </p:spPr>
        <p:txBody>
          <a:bodyPr/>
          <a:lstStyle>
            <a:lvl1pPr>
              <a:defRPr b="0" i="0">
                <a:solidFill>
                  <a:schemeClr val="accent5"/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>
              <a:defRPr/>
            </a:pPr>
            <a:fld id="{29BB10FE-1F50-6A4A-8D9B-EE549D71E340}" type="slidenum">
              <a:rPr lang="x-none" altLang="x-none"/>
              <a:pPr>
                <a:defRPr/>
              </a:pPr>
              <a:t>‹#›</a:t>
            </a:fld>
            <a:endParaRPr lang="x-none" altLang="x-none"/>
          </a:p>
        </p:txBody>
      </p:sp>
    </p:spTree>
    <p:extLst>
      <p:ext uri="{BB962C8B-B14F-4D97-AF65-F5344CB8AC3E}">
        <p14:creationId xmlns:p14="http://schemas.microsoft.com/office/powerpoint/2010/main" val="371284510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1992922" y="1953220"/>
            <a:ext cx="917972" cy="1223963"/>
          </a:xfrm>
        </p:spPr>
        <p:txBody>
          <a:bodyPr/>
          <a:lstStyle/>
          <a:p>
            <a:pPr lvl="0"/>
            <a:endParaRPr lang="en-US" noProof="0">
              <a:sym typeface="Poppins" charset="0"/>
            </a:endParaRP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3099748" y="1953220"/>
            <a:ext cx="917972" cy="1223963"/>
          </a:xfrm>
        </p:spPr>
        <p:txBody>
          <a:bodyPr/>
          <a:lstStyle/>
          <a:p>
            <a:pPr lvl="0"/>
            <a:endParaRPr lang="en-US" noProof="0">
              <a:sym typeface="Poppins" charset="0"/>
            </a:endParaRP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4193958" y="1953220"/>
            <a:ext cx="917972" cy="1223963"/>
          </a:xfrm>
        </p:spPr>
        <p:txBody>
          <a:bodyPr/>
          <a:lstStyle/>
          <a:p>
            <a:pPr lvl="0"/>
            <a:endParaRPr lang="en-US" noProof="0">
              <a:sym typeface="Poppins" charset="0"/>
            </a:endParaRP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5300784" y="1953220"/>
            <a:ext cx="917972" cy="1223963"/>
          </a:xfrm>
        </p:spPr>
        <p:txBody>
          <a:bodyPr/>
          <a:lstStyle/>
          <a:p>
            <a:pPr lvl="0"/>
            <a:endParaRPr lang="en-US" noProof="0">
              <a:sym typeface="Poppins" charset="0"/>
            </a:endParaRPr>
          </a:p>
        </p:txBody>
      </p:sp>
      <p:sp>
        <p:nvSpPr>
          <p:cNvPr id="8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6407610" y="1953220"/>
            <a:ext cx="917972" cy="1223963"/>
          </a:xfrm>
        </p:spPr>
        <p:txBody>
          <a:bodyPr/>
          <a:lstStyle/>
          <a:p>
            <a:pPr lvl="0"/>
            <a:endParaRPr lang="en-US" noProof="0">
              <a:sym typeface="Poppins" charset="0"/>
            </a:endParaRPr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1992922" y="3429001"/>
            <a:ext cx="917972" cy="1223963"/>
          </a:xfrm>
        </p:spPr>
        <p:txBody>
          <a:bodyPr/>
          <a:lstStyle/>
          <a:p>
            <a:pPr lvl="0"/>
            <a:endParaRPr lang="en-US" noProof="0">
              <a:sym typeface="Poppins" charset="0"/>
            </a:endParaRPr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3099748" y="3429001"/>
            <a:ext cx="917972" cy="1223963"/>
          </a:xfrm>
        </p:spPr>
        <p:txBody>
          <a:bodyPr/>
          <a:lstStyle/>
          <a:p>
            <a:pPr lvl="0"/>
            <a:endParaRPr lang="en-US" noProof="0">
              <a:sym typeface="Poppins" charset="0"/>
            </a:endParaRP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193958" y="3429001"/>
            <a:ext cx="917972" cy="1223963"/>
          </a:xfrm>
        </p:spPr>
        <p:txBody>
          <a:bodyPr/>
          <a:lstStyle/>
          <a:p>
            <a:pPr lvl="0"/>
            <a:endParaRPr lang="en-US" noProof="0">
              <a:sym typeface="Poppins" charset="0"/>
            </a:endParaRPr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5300784" y="3429001"/>
            <a:ext cx="917972" cy="1223963"/>
          </a:xfrm>
        </p:spPr>
        <p:txBody>
          <a:bodyPr/>
          <a:lstStyle/>
          <a:p>
            <a:pPr lvl="0"/>
            <a:endParaRPr lang="en-US" noProof="0">
              <a:sym typeface="Poppins" charset="0"/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6407610" y="3429001"/>
            <a:ext cx="917972" cy="1223963"/>
          </a:xfrm>
        </p:spPr>
        <p:txBody>
          <a:bodyPr/>
          <a:lstStyle/>
          <a:p>
            <a:pPr lvl="0"/>
            <a:endParaRPr lang="en-US" noProof="0">
              <a:sym typeface="Poppins" charset="0"/>
            </a:endParaRPr>
          </a:p>
        </p:txBody>
      </p:sp>
      <p:sp>
        <p:nvSpPr>
          <p:cNvPr id="17" name="Rectangle 4"/>
          <p:cNvSpPr>
            <a:spLocks noGrp="1"/>
          </p:cNvSpPr>
          <p:nvPr>
            <p:ph type="sldNum" sz="quarter" idx="21"/>
          </p:nvPr>
        </p:nvSpPr>
        <p:spPr>
          <a:xfrm>
            <a:off x="8454628" y="6248400"/>
            <a:ext cx="335757" cy="241300"/>
          </a:xfrm>
        </p:spPr>
        <p:txBody>
          <a:bodyPr/>
          <a:lstStyle>
            <a:lvl1pPr>
              <a:defRPr b="0" i="0">
                <a:solidFill>
                  <a:schemeClr val="accent5"/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>
              <a:defRPr/>
            </a:pPr>
            <a:fld id="{355BB0B9-C554-844A-8A1C-D7242B5F46A6}" type="slidenum">
              <a:rPr lang="x-none" altLang="x-none"/>
              <a:pPr>
                <a:defRPr/>
              </a:pPr>
              <a:t>‹#›</a:t>
            </a:fld>
            <a:endParaRPr lang="x-none" altLang="x-none"/>
          </a:p>
        </p:txBody>
      </p:sp>
    </p:spTree>
    <p:extLst>
      <p:ext uri="{BB962C8B-B14F-4D97-AF65-F5344CB8AC3E}">
        <p14:creationId xmlns:p14="http://schemas.microsoft.com/office/powerpoint/2010/main" val="264474412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5CAA694-9CF2-448C-9DD7-5B2ADFB6B78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65125" y="1159776"/>
            <a:ext cx="8778875" cy="511853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PH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FAE50819-6FE0-9D4E-A69A-F2D953A780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5169"/>
            <a:ext cx="7853641" cy="836441"/>
          </a:xfrm>
          <a:prstGeom prst="rect">
            <a:avLst/>
          </a:prstGeom>
          <a:noFill/>
        </p:spPr>
        <p:txBody>
          <a:bodyPr vert="horz" lIns="228600" tIns="45720" rIns="91440" bIns="45720" rtlCol="0" anchor="b" anchorCtr="0">
            <a:normAutofit/>
          </a:bodyPr>
          <a:lstStyle>
            <a:lvl1pPr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7201471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5CAA694-9CF2-448C-9DD7-5B2ADFB6B78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92088" y="1014413"/>
            <a:ext cx="4343463" cy="566102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PH"/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5016A314-FD99-4353-820B-236C95EC4D97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654232" y="1014412"/>
            <a:ext cx="4343463" cy="566102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PH"/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7F6F1F82-4893-3C4B-A120-B0797AAEF9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088" y="5169"/>
            <a:ext cx="7853641" cy="836441"/>
          </a:xfrm>
          <a:prstGeom prst="rect">
            <a:avLst/>
          </a:prstGeom>
          <a:noFill/>
        </p:spPr>
        <p:txBody>
          <a:bodyPr vert="horz" lIns="228600" tIns="45720" rIns="91440" bIns="45720" rtlCol="0" anchor="b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6315314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5325332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844723" y="633961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06714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0C6CEF-3F30-5644-AEEC-4228C0B921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229166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D0C6CEF-3F30-5644-AEEC-4228C0B92182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BEC6C488-40AB-4143-AEF4-8973E4B899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2329" y="5169"/>
            <a:ext cx="7853641" cy="836441"/>
          </a:xfrm>
          <a:prstGeom prst="rect">
            <a:avLst/>
          </a:prstGeom>
          <a:noFill/>
        </p:spPr>
        <p:txBody>
          <a:bodyPr vert="horz" lIns="228600" tIns="45720" rIns="91440" bIns="45720" rtlCol="0" anchor="b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503638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D0C6CEF-3F30-5644-AEEC-4228C0B921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185325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lowchart: Merge 5">
            <a:extLst>
              <a:ext uri="{FF2B5EF4-FFF2-40B4-BE49-F238E27FC236}">
                <a16:creationId xmlns:a16="http://schemas.microsoft.com/office/drawing/2014/main" id="{50809C12-B54F-40B7-9E49-04CDE88DC76E}"/>
              </a:ext>
            </a:extLst>
          </p:cNvPr>
          <p:cNvSpPr/>
          <p:nvPr userDrawn="1"/>
        </p:nvSpPr>
        <p:spPr>
          <a:xfrm rot="5400000">
            <a:off x="1399349" y="443484"/>
            <a:ext cx="365125" cy="365125"/>
          </a:xfrm>
          <a:prstGeom prst="flowChartMerg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1912" y="-9144"/>
            <a:ext cx="7562088" cy="905256"/>
          </a:xfrm>
          <a:prstGeom prst="rect">
            <a:avLst/>
          </a:prstGeom>
          <a:solidFill>
            <a:schemeClr val="accent1"/>
          </a:solidFill>
        </p:spPr>
        <p:txBody>
          <a:bodyPr>
            <a:normAutofit/>
          </a:bodyPr>
          <a:lstStyle>
            <a:lvl1pPr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D0C6CEF-3F30-5644-AEEC-4228C0B921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311402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D0C6CEF-3F30-5644-AEEC-4228C0B921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5775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D0C6CEF-3F30-5644-AEEC-4228C0B92182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BEC6C488-40AB-4143-AEF4-8973E4B899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8335" y="5169"/>
            <a:ext cx="7853641" cy="836441"/>
          </a:xfrm>
          <a:prstGeom prst="rect">
            <a:avLst/>
          </a:prstGeom>
          <a:noFill/>
        </p:spPr>
        <p:txBody>
          <a:bodyPr vert="horz" lIns="228600" tIns="45720" rIns="91440" bIns="45720" rtlCol="0" anchor="b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6543607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8664300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D0C6CEF-3F30-5644-AEEC-4228C0B921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792701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D0C6CEF-3F30-5644-AEEC-4228C0B921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694018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26464" y="65438"/>
            <a:ext cx="7088886" cy="7710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D0C6CEF-3F30-5644-AEEC-4228C0B921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283177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D0C6CEF-3F30-5644-AEEC-4228C0B921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654392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Free 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Off-page Connector 9"/>
          <p:cNvSpPr/>
          <p:nvPr userDrawn="1"/>
        </p:nvSpPr>
        <p:spPr>
          <a:xfrm rot="5400000">
            <a:off x="8750353" y="193408"/>
            <a:ext cx="384047" cy="403249"/>
          </a:xfrm>
          <a:prstGeom prst="flowChartOffpageConnector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77312" y="203009"/>
            <a:ext cx="381001" cy="366183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bg1"/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425175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Free 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843790" y="541356"/>
            <a:ext cx="56388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r">
              <a:defRPr sz="2000" b="1" baseline="0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367790" y="1010678"/>
            <a:ext cx="4114800" cy="267661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r">
              <a:buNone/>
              <a:defRPr sz="1050" b="1" i="0" baseline="0"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10" name="Flowchart: Off-page Connector 9"/>
          <p:cNvSpPr/>
          <p:nvPr userDrawn="1"/>
        </p:nvSpPr>
        <p:spPr>
          <a:xfrm rot="5400000">
            <a:off x="8750353" y="193408"/>
            <a:ext cx="384047" cy="403249"/>
          </a:xfrm>
          <a:prstGeom prst="flowChartOffpageConnector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77312" y="203009"/>
            <a:ext cx="381001" cy="366183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bg1"/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20917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Free 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654724" y="356628"/>
            <a:ext cx="56388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l">
              <a:defRPr sz="2400" b="1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654724" y="825950"/>
            <a:ext cx="41148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l">
              <a:buNone/>
              <a:defRPr sz="14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SUBTEXT GOES HERE</a:t>
            </a:r>
          </a:p>
        </p:txBody>
      </p:sp>
      <p:sp>
        <p:nvSpPr>
          <p:cNvPr id="8" name="Flowchart: Off-page Connector 7"/>
          <p:cNvSpPr/>
          <p:nvPr userDrawn="1"/>
        </p:nvSpPr>
        <p:spPr>
          <a:xfrm rot="5400000">
            <a:off x="8750353" y="193408"/>
            <a:ext cx="384047" cy="403249"/>
          </a:xfrm>
          <a:prstGeom prst="flowChartOffpageConnector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77312" y="203009"/>
            <a:ext cx="381001" cy="366183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bg1"/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85747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7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5161521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 userDrawn="1"/>
        </p:nvGrpSpPr>
        <p:grpSpPr>
          <a:xfrm>
            <a:off x="0" y="6731802"/>
            <a:ext cx="9144000" cy="126199"/>
            <a:chOff x="0" y="2573904"/>
            <a:chExt cx="8767278" cy="44695"/>
          </a:xfrm>
        </p:grpSpPr>
        <p:grpSp>
          <p:nvGrpSpPr>
            <p:cNvPr id="9" name="Group 43"/>
            <p:cNvGrpSpPr/>
            <p:nvPr/>
          </p:nvGrpSpPr>
          <p:grpSpPr>
            <a:xfrm>
              <a:off x="0" y="2573904"/>
              <a:ext cx="3752335" cy="44695"/>
              <a:chOff x="0" y="2573904"/>
              <a:chExt cx="3752335" cy="44695"/>
            </a:xfrm>
          </p:grpSpPr>
          <p:sp>
            <p:nvSpPr>
              <p:cNvPr id="15" name="Rectangle 14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16" name="Rectangle 15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17" name="Rectangle 16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</p:grpSp>
        <p:grpSp>
          <p:nvGrpSpPr>
            <p:cNvPr id="10" name="Group 44"/>
            <p:cNvGrpSpPr/>
            <p:nvPr/>
          </p:nvGrpSpPr>
          <p:grpSpPr>
            <a:xfrm>
              <a:off x="3752335" y="2573904"/>
              <a:ext cx="5014943" cy="44695"/>
              <a:chOff x="0" y="2573904"/>
              <a:chExt cx="5014943" cy="44695"/>
            </a:xfrm>
          </p:grpSpPr>
          <p:sp>
            <p:nvSpPr>
              <p:cNvPr id="11" name="Rectangle 10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12" name="Rectangle 11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13" name="Rectangle 12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14" name="Rectangle 13"/>
              <p:cNvSpPr/>
              <p:nvPr/>
            </p:nvSpPr>
            <p:spPr>
              <a:xfrm>
                <a:off x="3752335" y="2573904"/>
                <a:ext cx="1262608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</p:grpSp>
      </p:grpSp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654724" y="356628"/>
            <a:ext cx="56388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l">
              <a:defRPr sz="2400" b="1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654724" y="825950"/>
            <a:ext cx="41148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l">
              <a:buNone/>
              <a:defRPr sz="14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SUBTEXT GOES HERE</a:t>
            </a:r>
          </a:p>
        </p:txBody>
      </p:sp>
    </p:spTree>
    <p:extLst>
      <p:ext uri="{BB962C8B-B14F-4D97-AF65-F5344CB8AC3E}">
        <p14:creationId xmlns:p14="http://schemas.microsoft.com/office/powerpoint/2010/main" val="40626020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19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D0C6CEF-3F30-5644-AEEC-4228C0B921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610542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oter+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 userDrawn="1"/>
        </p:nvGrpSpPr>
        <p:grpSpPr>
          <a:xfrm>
            <a:off x="0" y="6731802"/>
            <a:ext cx="9144000" cy="126199"/>
            <a:chOff x="0" y="2573904"/>
            <a:chExt cx="8767278" cy="44695"/>
          </a:xfrm>
        </p:grpSpPr>
        <p:grpSp>
          <p:nvGrpSpPr>
            <p:cNvPr id="9" name="Group 43"/>
            <p:cNvGrpSpPr/>
            <p:nvPr/>
          </p:nvGrpSpPr>
          <p:grpSpPr>
            <a:xfrm>
              <a:off x="0" y="2573904"/>
              <a:ext cx="3752335" cy="44695"/>
              <a:chOff x="0" y="2573904"/>
              <a:chExt cx="3752335" cy="44695"/>
            </a:xfrm>
          </p:grpSpPr>
          <p:sp>
            <p:nvSpPr>
              <p:cNvPr id="15" name="Rectangle 14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16" name="Rectangle 15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17" name="Rectangle 16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</p:grpSp>
        <p:grpSp>
          <p:nvGrpSpPr>
            <p:cNvPr id="10" name="Group 44"/>
            <p:cNvGrpSpPr/>
            <p:nvPr/>
          </p:nvGrpSpPr>
          <p:grpSpPr>
            <a:xfrm>
              <a:off x="3752335" y="2573904"/>
              <a:ext cx="5014943" cy="44695"/>
              <a:chOff x="0" y="2573904"/>
              <a:chExt cx="5014943" cy="44695"/>
            </a:xfrm>
          </p:grpSpPr>
          <p:sp>
            <p:nvSpPr>
              <p:cNvPr id="11" name="Rectangle 10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12" name="Rectangle 11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13" name="Rectangle 12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14" name="Rectangle 13"/>
              <p:cNvSpPr/>
              <p:nvPr/>
            </p:nvSpPr>
            <p:spPr>
              <a:xfrm>
                <a:off x="3752335" y="2573904"/>
                <a:ext cx="1262608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</p:grpSp>
      </p:grpSp>
      <p:sp>
        <p:nvSpPr>
          <p:cNvPr id="18" name="Flowchart: Off-page Connector 17"/>
          <p:cNvSpPr/>
          <p:nvPr userDrawn="1"/>
        </p:nvSpPr>
        <p:spPr>
          <a:xfrm rot="5400000">
            <a:off x="8750353" y="193408"/>
            <a:ext cx="384047" cy="403249"/>
          </a:xfrm>
          <a:prstGeom prst="flowChartOffpageConnector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9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77312" y="203009"/>
            <a:ext cx="381001" cy="366183"/>
          </a:xfrm>
          <a:prstGeom prst="rect">
            <a:avLst/>
          </a:prstGeom>
        </p:spPr>
        <p:txBody>
          <a:bodyPr anchor="ctr"/>
          <a:lstStyle>
            <a:lvl1pPr algn="ctr">
              <a:defRPr sz="900" b="1">
                <a:solidFill>
                  <a:schemeClr val="bg1"/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363383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654724" y="356628"/>
            <a:ext cx="56388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l">
              <a:defRPr sz="2400" b="1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654724" y="825950"/>
            <a:ext cx="41148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l">
              <a:buNone/>
              <a:defRPr sz="14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SUBTEXT GOES HERE</a:t>
            </a:r>
          </a:p>
        </p:txBody>
      </p:sp>
    </p:spTree>
    <p:extLst>
      <p:ext uri="{BB962C8B-B14F-4D97-AF65-F5344CB8AC3E}">
        <p14:creationId xmlns:p14="http://schemas.microsoft.com/office/powerpoint/2010/main" val="42651156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7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7"/>
          <p:cNvGrpSpPr/>
          <p:nvPr userDrawn="1"/>
        </p:nvGrpSpPr>
        <p:grpSpPr>
          <a:xfrm>
            <a:off x="0" y="6731802"/>
            <a:ext cx="9144000" cy="126199"/>
            <a:chOff x="0" y="2573904"/>
            <a:chExt cx="8767278" cy="44695"/>
          </a:xfrm>
        </p:grpSpPr>
        <p:grpSp>
          <p:nvGrpSpPr>
            <p:cNvPr id="4" name="Group 43"/>
            <p:cNvGrpSpPr/>
            <p:nvPr/>
          </p:nvGrpSpPr>
          <p:grpSpPr>
            <a:xfrm>
              <a:off x="0" y="2573904"/>
              <a:ext cx="3752335" cy="44695"/>
              <a:chOff x="0" y="2573904"/>
              <a:chExt cx="3752335" cy="44695"/>
            </a:xfrm>
          </p:grpSpPr>
          <p:sp>
            <p:nvSpPr>
              <p:cNvPr id="18" name="Rectangle 17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19" name="Rectangle 18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20" name="Rectangle 19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</p:grpSp>
        <p:grpSp>
          <p:nvGrpSpPr>
            <p:cNvPr id="5" name="Group 44"/>
            <p:cNvGrpSpPr/>
            <p:nvPr/>
          </p:nvGrpSpPr>
          <p:grpSpPr>
            <a:xfrm>
              <a:off x="3752335" y="2573904"/>
              <a:ext cx="5014943" cy="44695"/>
              <a:chOff x="0" y="2573904"/>
              <a:chExt cx="5014943" cy="44695"/>
            </a:xfrm>
          </p:grpSpPr>
          <p:sp>
            <p:nvSpPr>
              <p:cNvPr id="12" name="Rectangle 11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13" name="Rectangle 12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14" name="Rectangle 13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16" name="Rectangle 15"/>
              <p:cNvSpPr/>
              <p:nvPr/>
            </p:nvSpPr>
            <p:spPr>
              <a:xfrm>
                <a:off x="3752335" y="2573904"/>
                <a:ext cx="1262608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2598093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7032454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88" progId="TCLayout.ActiveDocument.1">
                  <p:embed/>
                </p:oleObj>
              </mc:Choice>
              <mc:Fallback>
                <p:oleObj name="think-cell Slide" r:id="rId3" imgW="592" imgH="58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>
            <a:spLocks noChangeArrowheads="1"/>
          </p:cNvSpPr>
          <p:nvPr/>
        </p:nvSpPr>
        <p:spPr bwMode="auto">
          <a:xfrm flipV="1">
            <a:off x="0" y="2"/>
            <a:ext cx="9144000" cy="4479925"/>
          </a:xfrm>
          <a:prstGeom prst="rect">
            <a:avLst/>
          </a:prstGeom>
          <a:solidFill>
            <a:srgbClr val="139A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975" b="0"/>
          </a:p>
        </p:txBody>
      </p:sp>
      <p:sp>
        <p:nvSpPr>
          <p:cNvPr id="66" name="Rectangle 65"/>
          <p:cNvSpPr>
            <a:spLocks noChangeArrowheads="1"/>
          </p:cNvSpPr>
          <p:nvPr/>
        </p:nvSpPr>
        <p:spPr bwMode="auto">
          <a:xfrm>
            <a:off x="0" y="4311652"/>
            <a:ext cx="9144000" cy="176213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975" b="0">
              <a:solidFill>
                <a:schemeClr val="bg1"/>
              </a:solidFill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1512624" y="1189791"/>
            <a:ext cx="6971806" cy="1822161"/>
          </a:xfrm>
          <a:prstGeom prst="rect">
            <a:avLst/>
          </a:prstGeo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2700"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1525173" y="3000005"/>
            <a:ext cx="6959257" cy="87588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 b="0" i="0" cap="all" baseline="0">
                <a:solidFill>
                  <a:srgbClr val="FFFFFF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9" name="Text Placeholder 331"/>
          <p:cNvSpPr>
            <a:spLocks noGrp="1"/>
          </p:cNvSpPr>
          <p:nvPr>
            <p:ph type="body" sz="quarter" idx="14" hasCustomPrompt="1"/>
          </p:nvPr>
        </p:nvSpPr>
        <p:spPr>
          <a:xfrm>
            <a:off x="5944825" y="4663925"/>
            <a:ext cx="2821170" cy="1428714"/>
          </a:xfrm>
          <a:prstGeom prst="rect">
            <a:avLst/>
          </a:prstGeom>
        </p:spPr>
        <p:txBody>
          <a:bodyPr anchor="b"/>
          <a:lstStyle>
            <a:lvl1pPr algn="r">
              <a:lnSpc>
                <a:spcPct val="100000"/>
              </a:lnSpc>
              <a:defRPr sz="1050" b="0" i="0" baseline="0">
                <a:solidFill>
                  <a:schemeClr val="tx1"/>
                </a:solidFill>
                <a:latin typeface="+mn-lt"/>
                <a:cs typeface="Arial"/>
              </a:defRPr>
            </a:lvl1pPr>
            <a:lvl2pPr algn="r">
              <a:defRPr sz="1050" b="0" i="0">
                <a:latin typeface="+mn-l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0" name="Rectangle 1028"/>
          <p:cNvSpPr>
            <a:spLocks noGrp="1" noChangeArrowheads="1"/>
          </p:cNvSpPr>
          <p:nvPr>
            <p:ph type="dt" sz="half" idx="20"/>
          </p:nvPr>
        </p:nvSpPr>
        <p:spPr>
          <a:xfrm>
            <a:off x="5945188" y="6107115"/>
            <a:ext cx="2811462" cy="306387"/>
          </a:xfrm>
          <a:prstGeom prst="rect">
            <a:avLst/>
          </a:prstGeom>
        </p:spPr>
        <p:txBody>
          <a:bodyPr rIns="0" anchor="ctr"/>
          <a:lstStyle>
            <a:lvl1pPr algn="r">
              <a:defRPr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r>
              <a:rPr lang="en-US"/>
              <a:t>Dat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D7EEB49-7285-E041-82CA-B9BF37D6262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7049" y="5957634"/>
            <a:ext cx="2309711" cy="6035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7451913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hit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086"/>
          <p:cNvSpPr>
            <a:spLocks noChangeShapeType="1"/>
          </p:cNvSpPr>
          <p:nvPr/>
        </p:nvSpPr>
        <p:spPr bwMode="auto">
          <a:xfrm>
            <a:off x="484189" y="617540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200"/>
          </a:p>
        </p:txBody>
      </p:sp>
      <p:sp>
        <p:nvSpPr>
          <p:cNvPr id="9" name="Line 1087"/>
          <p:cNvSpPr>
            <a:spLocks noChangeShapeType="1"/>
          </p:cNvSpPr>
          <p:nvPr/>
        </p:nvSpPr>
        <p:spPr bwMode="auto">
          <a:xfrm>
            <a:off x="484189" y="617540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200"/>
          </a:p>
        </p:txBody>
      </p:sp>
      <p:sp>
        <p:nvSpPr>
          <p:cNvPr id="10" name="Rectangle 1088"/>
          <p:cNvSpPr>
            <a:spLocks noChangeArrowheads="1"/>
          </p:cNvSpPr>
          <p:nvPr/>
        </p:nvSpPr>
        <p:spPr bwMode="auto">
          <a:xfrm>
            <a:off x="484189" y="617540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975" b="0"/>
          </a:p>
        </p:txBody>
      </p:sp>
      <p:sp>
        <p:nvSpPr>
          <p:cNvPr id="11" name="Rectangle 1089"/>
          <p:cNvSpPr>
            <a:spLocks noChangeArrowheads="1"/>
          </p:cNvSpPr>
          <p:nvPr/>
        </p:nvSpPr>
        <p:spPr bwMode="auto">
          <a:xfrm>
            <a:off x="484189" y="617540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975" b="0"/>
          </a:p>
        </p:txBody>
      </p:sp>
      <p:sp>
        <p:nvSpPr>
          <p:cNvPr id="12" name="Freeform 1098"/>
          <p:cNvSpPr>
            <a:spLocks/>
          </p:cNvSpPr>
          <p:nvPr/>
        </p:nvSpPr>
        <p:spPr bwMode="auto">
          <a:xfrm>
            <a:off x="487364" y="617540"/>
            <a:ext cx="3175" cy="1587"/>
          </a:xfrm>
          <a:custGeom>
            <a:avLst/>
            <a:gdLst>
              <a:gd name="T0" fmla="*/ 0 w 2"/>
              <a:gd name="T1" fmla="*/ 0 h 1587"/>
              <a:gd name="T2" fmla="*/ 2147483646 w 2"/>
              <a:gd name="T3" fmla="*/ 0 h 1587"/>
              <a:gd name="T4" fmla="*/ 2147483646 w 2"/>
              <a:gd name="T5" fmla="*/ 0 h 1587"/>
              <a:gd name="T6" fmla="*/ 2147483646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2147483646 w 2"/>
              <a:gd name="T35" fmla="*/ 0 h 1587"/>
              <a:gd name="T36" fmla="*/ 2147483646 w 2"/>
              <a:gd name="T37" fmla="*/ 0 h 1587"/>
              <a:gd name="T38" fmla="*/ 2147483646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200"/>
          </a:p>
        </p:txBody>
      </p:sp>
      <p:sp>
        <p:nvSpPr>
          <p:cNvPr id="13" name="Freeform 1115"/>
          <p:cNvSpPr>
            <a:spLocks/>
          </p:cNvSpPr>
          <p:nvPr/>
        </p:nvSpPr>
        <p:spPr bwMode="auto">
          <a:xfrm>
            <a:off x="458789" y="473075"/>
            <a:ext cx="3175" cy="3175"/>
          </a:xfrm>
          <a:custGeom>
            <a:avLst/>
            <a:gdLst>
              <a:gd name="T0" fmla="*/ 0 w 2"/>
              <a:gd name="T1" fmla="*/ 2147483646 h 2"/>
              <a:gd name="T2" fmla="*/ 0 w 2"/>
              <a:gd name="T3" fmla="*/ 2147483646 h 2"/>
              <a:gd name="T4" fmla="*/ 0 w 2"/>
              <a:gd name="T5" fmla="*/ 2147483646 h 2"/>
              <a:gd name="T6" fmla="*/ 0 w 2"/>
              <a:gd name="T7" fmla="*/ 2147483646 h 2"/>
              <a:gd name="T8" fmla="*/ 0 w 2"/>
              <a:gd name="T9" fmla="*/ 2147483646 h 2"/>
              <a:gd name="T10" fmla="*/ 0 w 2"/>
              <a:gd name="T11" fmla="*/ 2147483646 h 2"/>
              <a:gd name="T12" fmla="*/ 2147483646 w 2"/>
              <a:gd name="T13" fmla="*/ 2147483646 h 2"/>
              <a:gd name="T14" fmla="*/ 2147483646 w 2"/>
              <a:gd name="T15" fmla="*/ 2147483646 h 2"/>
              <a:gd name="T16" fmla="*/ 2147483646 w 2"/>
              <a:gd name="T17" fmla="*/ 0 h 2"/>
              <a:gd name="T18" fmla="*/ 0 w 2"/>
              <a:gd name="T19" fmla="*/ 2147483646 h 2"/>
              <a:gd name="T20" fmla="*/ 0 w 2"/>
              <a:gd name="T21" fmla="*/ 2147483646 h 2"/>
              <a:gd name="T22" fmla="*/ 0 w 2"/>
              <a:gd name="T23" fmla="*/ 2147483646 h 2"/>
              <a:gd name="T24" fmla="*/ 0 w 2"/>
              <a:gd name="T25" fmla="*/ 2147483646 h 2"/>
              <a:gd name="T26" fmla="*/ 0 w 2"/>
              <a:gd name="T27" fmla="*/ 2147483646 h 2"/>
              <a:gd name="T28" fmla="*/ 2147483646 w 2"/>
              <a:gd name="T29" fmla="*/ 2147483646 h 2"/>
              <a:gd name="T30" fmla="*/ 2147483646 w 2"/>
              <a:gd name="T31" fmla="*/ 2147483646 h 2"/>
              <a:gd name="T32" fmla="*/ 2147483646 w 2"/>
              <a:gd name="T33" fmla="*/ 2147483646 h 2"/>
              <a:gd name="T34" fmla="*/ 2147483646 w 2"/>
              <a:gd name="T35" fmla="*/ 2147483646 h 2"/>
              <a:gd name="T36" fmla="*/ 2147483646 w 2"/>
              <a:gd name="T37" fmla="*/ 2147483646 h 2"/>
              <a:gd name="T38" fmla="*/ 2147483646 w 2"/>
              <a:gd name="T39" fmla="*/ 2147483646 h 2"/>
              <a:gd name="T40" fmla="*/ 0 w 2"/>
              <a:gd name="T41" fmla="*/ 2147483646 h 2"/>
              <a:gd name="T42" fmla="*/ 0 w 2"/>
              <a:gd name="T43" fmla="*/ 2147483646 h 2"/>
              <a:gd name="T44" fmla="*/ 0 w 2"/>
              <a:gd name="T45" fmla="*/ 2147483646 h 2"/>
              <a:gd name="T46" fmla="*/ 0 w 2"/>
              <a:gd name="T47" fmla="*/ 2147483646 h 2"/>
              <a:gd name="T48" fmla="*/ 0 w 2"/>
              <a:gd name="T49" fmla="*/ 2147483646 h 2"/>
              <a:gd name="T50" fmla="*/ 0 w 2"/>
              <a:gd name="T51" fmla="*/ 2147483646 h 2"/>
              <a:gd name="T52" fmla="*/ 0 w 2"/>
              <a:gd name="T53" fmla="*/ 2147483646 h 2"/>
              <a:gd name="T54" fmla="*/ 2147483646 w 2"/>
              <a:gd name="T55" fmla="*/ 2147483646 h 2"/>
              <a:gd name="T56" fmla="*/ 0 w 2"/>
              <a:gd name="T57" fmla="*/ 2147483646 h 2"/>
              <a:gd name="T58" fmla="*/ 2147483646 w 2"/>
              <a:gd name="T59" fmla="*/ 2147483646 h 2"/>
              <a:gd name="T60" fmla="*/ 2147483646 w 2"/>
              <a:gd name="T61" fmla="*/ 2147483646 h 2"/>
              <a:gd name="T62" fmla="*/ 2147483646 w 2"/>
              <a:gd name="T63" fmla="*/ 2147483646 h 2"/>
              <a:gd name="T64" fmla="*/ 0 w 2"/>
              <a:gd name="T65" fmla="*/ 2147483646 h 2"/>
              <a:gd name="T66" fmla="*/ 0 w 2"/>
              <a:gd name="T67" fmla="*/ 2147483646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200"/>
          </a:p>
        </p:txBody>
      </p:sp>
      <p:sp>
        <p:nvSpPr>
          <p:cNvPr id="14" name="Freeform 1120"/>
          <p:cNvSpPr>
            <a:spLocks/>
          </p:cNvSpPr>
          <p:nvPr/>
        </p:nvSpPr>
        <p:spPr bwMode="auto">
          <a:xfrm>
            <a:off x="458789" y="463552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2147483646 h 2"/>
              <a:gd name="T4" fmla="*/ 0 w 2"/>
              <a:gd name="T5" fmla="*/ 2147483646 h 2"/>
              <a:gd name="T6" fmla="*/ 0 w 2"/>
              <a:gd name="T7" fmla="*/ 2147483646 h 2"/>
              <a:gd name="T8" fmla="*/ 2147483646 w 2"/>
              <a:gd name="T9" fmla="*/ 2147483646 h 2"/>
              <a:gd name="T10" fmla="*/ 2147483646 w 2"/>
              <a:gd name="T11" fmla="*/ 0 h 2"/>
              <a:gd name="T12" fmla="*/ 2147483646 w 2"/>
              <a:gd name="T13" fmla="*/ 0 h 2"/>
              <a:gd name="T14" fmla="*/ 2147483646 w 2"/>
              <a:gd name="T15" fmla="*/ 0 h 2"/>
              <a:gd name="T16" fmla="*/ 0 w 2"/>
              <a:gd name="T17" fmla="*/ 0 h 2"/>
              <a:gd name="T18" fmla="*/ 0 w 2"/>
              <a:gd name="T19" fmla="*/ 2147483646 h 2"/>
              <a:gd name="T20" fmla="*/ 0 w 2"/>
              <a:gd name="T21" fmla="*/ 2147483646 h 2"/>
              <a:gd name="T22" fmla="*/ 2147483646 w 2"/>
              <a:gd name="T23" fmla="*/ 0 h 2"/>
              <a:gd name="T24" fmla="*/ 2147483646 w 2"/>
              <a:gd name="T25" fmla="*/ 0 h 2"/>
              <a:gd name="T26" fmla="*/ 2147483646 w 2"/>
              <a:gd name="T27" fmla="*/ 0 h 2"/>
              <a:gd name="T28" fmla="*/ 2147483646 w 2"/>
              <a:gd name="T29" fmla="*/ 2147483646 h 2"/>
              <a:gd name="T30" fmla="*/ 0 w 2"/>
              <a:gd name="T31" fmla="*/ 2147483646 h 2"/>
              <a:gd name="T32" fmla="*/ 0 w 2"/>
              <a:gd name="T33" fmla="*/ 2147483646 h 2"/>
              <a:gd name="T34" fmla="*/ 0 w 2"/>
              <a:gd name="T35" fmla="*/ 2147483646 h 2"/>
              <a:gd name="T36" fmla="*/ 0 w 2"/>
              <a:gd name="T37" fmla="*/ 2147483646 h 2"/>
              <a:gd name="T38" fmla="*/ 0 w 2"/>
              <a:gd name="T39" fmla="*/ 2147483646 h 2"/>
              <a:gd name="T40" fmla="*/ 0 w 2"/>
              <a:gd name="T41" fmla="*/ 2147483646 h 2"/>
              <a:gd name="T42" fmla="*/ 0 w 2"/>
              <a:gd name="T43" fmla="*/ 2147483646 h 2"/>
              <a:gd name="T44" fmla="*/ 0 w 2"/>
              <a:gd name="T45" fmla="*/ 2147483646 h 2"/>
              <a:gd name="T46" fmla="*/ 2147483646 w 2"/>
              <a:gd name="T47" fmla="*/ 2147483646 h 2"/>
              <a:gd name="T48" fmla="*/ 0 w 2"/>
              <a:gd name="T49" fmla="*/ 2147483646 h 2"/>
              <a:gd name="T50" fmla="*/ 0 w 2"/>
              <a:gd name="T51" fmla="*/ 2147483646 h 2"/>
              <a:gd name="T52" fmla="*/ 2147483646 w 2"/>
              <a:gd name="T53" fmla="*/ 2147483646 h 2"/>
              <a:gd name="T54" fmla="*/ 2147483646 w 2"/>
              <a:gd name="T55" fmla="*/ 2147483646 h 2"/>
              <a:gd name="T56" fmla="*/ 2147483646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200"/>
          </a:p>
        </p:txBody>
      </p:sp>
      <p:sp>
        <p:nvSpPr>
          <p:cNvPr id="15" name="Freeform 1134"/>
          <p:cNvSpPr>
            <a:spLocks/>
          </p:cNvSpPr>
          <p:nvPr/>
        </p:nvSpPr>
        <p:spPr bwMode="auto">
          <a:xfrm>
            <a:off x="703264" y="514350"/>
            <a:ext cx="3175" cy="6350"/>
          </a:xfrm>
          <a:custGeom>
            <a:avLst/>
            <a:gdLst>
              <a:gd name="T0" fmla="*/ 2147483646 w 2"/>
              <a:gd name="T1" fmla="*/ 2147483646 h 4"/>
              <a:gd name="T2" fmla="*/ 2147483646 w 2"/>
              <a:gd name="T3" fmla="*/ 2147483646 h 4"/>
              <a:gd name="T4" fmla="*/ 2147483646 w 2"/>
              <a:gd name="T5" fmla="*/ 2147483646 h 4"/>
              <a:gd name="T6" fmla="*/ 2147483646 w 2"/>
              <a:gd name="T7" fmla="*/ 2147483646 h 4"/>
              <a:gd name="T8" fmla="*/ 2147483646 w 2"/>
              <a:gd name="T9" fmla="*/ 0 h 4"/>
              <a:gd name="T10" fmla="*/ 2147483646 w 2"/>
              <a:gd name="T11" fmla="*/ 0 h 4"/>
              <a:gd name="T12" fmla="*/ 2147483646 w 2"/>
              <a:gd name="T13" fmla="*/ 0 h 4"/>
              <a:gd name="T14" fmla="*/ 0 w 2"/>
              <a:gd name="T15" fmla="*/ 2147483646 h 4"/>
              <a:gd name="T16" fmla="*/ 2147483646 w 2"/>
              <a:gd name="T17" fmla="*/ 2147483646 h 4"/>
              <a:gd name="T18" fmla="*/ 2147483646 w 2"/>
              <a:gd name="T19" fmla="*/ 2147483646 h 4"/>
              <a:gd name="T20" fmla="*/ 2147483646 w 2"/>
              <a:gd name="T21" fmla="*/ 2147483646 h 4"/>
              <a:gd name="T22" fmla="*/ 2147483646 w 2"/>
              <a:gd name="T23" fmla="*/ 0 h 4"/>
              <a:gd name="T24" fmla="*/ 2147483646 w 2"/>
              <a:gd name="T25" fmla="*/ 2147483646 h 4"/>
              <a:gd name="T26" fmla="*/ 2147483646 w 2"/>
              <a:gd name="T27" fmla="*/ 2147483646 h 4"/>
              <a:gd name="T28" fmla="*/ 2147483646 w 2"/>
              <a:gd name="T29" fmla="*/ 2147483646 h 4"/>
              <a:gd name="T30" fmla="*/ 2147483646 w 2"/>
              <a:gd name="T31" fmla="*/ 2147483646 h 4"/>
              <a:gd name="T32" fmla="*/ 2147483646 w 2"/>
              <a:gd name="T33" fmla="*/ 2147483646 h 4"/>
              <a:gd name="T34" fmla="*/ 2147483646 w 2"/>
              <a:gd name="T35" fmla="*/ 2147483646 h 4"/>
              <a:gd name="T36" fmla="*/ 2147483646 w 2"/>
              <a:gd name="T37" fmla="*/ 2147483646 h 4"/>
              <a:gd name="T38" fmla="*/ 2147483646 w 2"/>
              <a:gd name="T39" fmla="*/ 2147483646 h 4"/>
              <a:gd name="T40" fmla="*/ 2147483646 w 2"/>
              <a:gd name="T41" fmla="*/ 2147483646 h 4"/>
              <a:gd name="T42" fmla="*/ 2147483646 w 2"/>
              <a:gd name="T43" fmla="*/ 2147483646 h 4"/>
              <a:gd name="T44" fmla="*/ 2147483646 w 2"/>
              <a:gd name="T45" fmla="*/ 2147483646 h 4"/>
              <a:gd name="T46" fmla="*/ 2147483646 w 2"/>
              <a:gd name="T47" fmla="*/ 2147483646 h 4"/>
              <a:gd name="T48" fmla="*/ 2147483646 w 2"/>
              <a:gd name="T49" fmla="*/ 2147483646 h 4"/>
              <a:gd name="T50" fmla="*/ 2147483646 w 2"/>
              <a:gd name="T51" fmla="*/ 2147483646 h 4"/>
              <a:gd name="T52" fmla="*/ 0 w 2"/>
              <a:gd name="T53" fmla="*/ 2147483646 h 4"/>
              <a:gd name="T54" fmla="*/ 2147483646 w 2"/>
              <a:gd name="T55" fmla="*/ 2147483646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200"/>
          </a:p>
        </p:txBody>
      </p:sp>
      <p:sp>
        <p:nvSpPr>
          <p:cNvPr id="16" name="Freeform 1141"/>
          <p:cNvSpPr>
            <a:spLocks/>
          </p:cNvSpPr>
          <p:nvPr/>
        </p:nvSpPr>
        <p:spPr bwMode="auto">
          <a:xfrm>
            <a:off x="706439" y="479425"/>
            <a:ext cx="1587" cy="6350"/>
          </a:xfrm>
          <a:custGeom>
            <a:avLst/>
            <a:gdLst>
              <a:gd name="T0" fmla="*/ 0 w 1587"/>
              <a:gd name="T1" fmla="*/ 2147483646 h 4"/>
              <a:gd name="T2" fmla="*/ 0 w 1587"/>
              <a:gd name="T3" fmla="*/ 2147483646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2147483646 h 4"/>
              <a:gd name="T10" fmla="*/ 0 w 1587"/>
              <a:gd name="T11" fmla="*/ 2147483646 h 4"/>
              <a:gd name="T12" fmla="*/ 0 w 1587"/>
              <a:gd name="T13" fmla="*/ 2147483646 h 4"/>
              <a:gd name="T14" fmla="*/ 0 w 1587"/>
              <a:gd name="T15" fmla="*/ 2147483646 h 4"/>
              <a:gd name="T16" fmla="*/ 0 w 1587"/>
              <a:gd name="T17" fmla="*/ 2147483646 h 4"/>
              <a:gd name="T18" fmla="*/ 0 w 1587"/>
              <a:gd name="T19" fmla="*/ 2147483646 h 4"/>
              <a:gd name="T20" fmla="*/ 0 w 1587"/>
              <a:gd name="T21" fmla="*/ 2147483646 h 4"/>
              <a:gd name="T22" fmla="*/ 0 w 1587"/>
              <a:gd name="T23" fmla="*/ 2147483646 h 4"/>
              <a:gd name="T24" fmla="*/ 0 w 1587"/>
              <a:gd name="T25" fmla="*/ 2147483646 h 4"/>
              <a:gd name="T26" fmla="*/ 0 w 1587"/>
              <a:gd name="T27" fmla="*/ 2147483646 h 4"/>
              <a:gd name="T28" fmla="*/ 0 w 1587"/>
              <a:gd name="T29" fmla="*/ 2147483646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200"/>
          </a:p>
        </p:txBody>
      </p:sp>
      <p:sp>
        <p:nvSpPr>
          <p:cNvPr id="17" name="Freeform 1148"/>
          <p:cNvSpPr>
            <a:spLocks/>
          </p:cNvSpPr>
          <p:nvPr/>
        </p:nvSpPr>
        <p:spPr bwMode="auto">
          <a:xfrm>
            <a:off x="693739" y="460376"/>
            <a:ext cx="3175" cy="3175"/>
          </a:xfrm>
          <a:custGeom>
            <a:avLst/>
            <a:gdLst>
              <a:gd name="T0" fmla="*/ 2147483646 w 2"/>
              <a:gd name="T1" fmla="*/ 2147483646 h 2"/>
              <a:gd name="T2" fmla="*/ 2147483646 w 2"/>
              <a:gd name="T3" fmla="*/ 0 h 2"/>
              <a:gd name="T4" fmla="*/ 2147483646 w 2"/>
              <a:gd name="T5" fmla="*/ 0 h 2"/>
              <a:gd name="T6" fmla="*/ 2147483646 w 2"/>
              <a:gd name="T7" fmla="*/ 0 h 2"/>
              <a:gd name="T8" fmla="*/ 2147483646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2147483646 h 2"/>
              <a:gd name="T16" fmla="*/ 0 w 2"/>
              <a:gd name="T17" fmla="*/ 2147483646 h 2"/>
              <a:gd name="T18" fmla="*/ 0 w 2"/>
              <a:gd name="T19" fmla="*/ 2147483646 h 2"/>
              <a:gd name="T20" fmla="*/ 2147483646 w 2"/>
              <a:gd name="T21" fmla="*/ 2147483646 h 2"/>
              <a:gd name="T22" fmla="*/ 2147483646 w 2"/>
              <a:gd name="T23" fmla="*/ 2147483646 h 2"/>
              <a:gd name="T24" fmla="*/ 2147483646 w 2"/>
              <a:gd name="T25" fmla="*/ 0 h 2"/>
              <a:gd name="T26" fmla="*/ 2147483646 w 2"/>
              <a:gd name="T27" fmla="*/ 0 h 2"/>
              <a:gd name="T28" fmla="*/ 2147483646 w 2"/>
              <a:gd name="T29" fmla="*/ 0 h 2"/>
              <a:gd name="T30" fmla="*/ 0 w 2"/>
              <a:gd name="T31" fmla="*/ 2147483646 h 2"/>
              <a:gd name="T32" fmla="*/ 2147483646 w 2"/>
              <a:gd name="T33" fmla="*/ 2147483646 h 2"/>
              <a:gd name="T34" fmla="*/ 2147483646 w 2"/>
              <a:gd name="T35" fmla="*/ 0 h 2"/>
              <a:gd name="T36" fmla="*/ 0 w 2"/>
              <a:gd name="T37" fmla="*/ 2147483646 h 2"/>
              <a:gd name="T38" fmla="*/ 2147483646 w 2"/>
              <a:gd name="T39" fmla="*/ 2147483646 h 2"/>
              <a:gd name="T40" fmla="*/ 0 w 2"/>
              <a:gd name="T41" fmla="*/ 2147483646 h 2"/>
              <a:gd name="T42" fmla="*/ 0 w 2"/>
              <a:gd name="T43" fmla="*/ 2147483646 h 2"/>
              <a:gd name="T44" fmla="*/ 0 w 2"/>
              <a:gd name="T45" fmla="*/ 2147483646 h 2"/>
              <a:gd name="T46" fmla="*/ 0 w 2"/>
              <a:gd name="T47" fmla="*/ 2147483646 h 2"/>
              <a:gd name="T48" fmla="*/ 0 w 2"/>
              <a:gd name="T49" fmla="*/ 2147483646 h 2"/>
              <a:gd name="T50" fmla="*/ 0 w 2"/>
              <a:gd name="T51" fmla="*/ 2147483646 h 2"/>
              <a:gd name="T52" fmla="*/ 0 w 2"/>
              <a:gd name="T53" fmla="*/ 2147483646 h 2"/>
              <a:gd name="T54" fmla="*/ 0 w 2"/>
              <a:gd name="T55" fmla="*/ 2147483646 h 2"/>
              <a:gd name="T56" fmla="*/ 0 w 2"/>
              <a:gd name="T57" fmla="*/ 2147483646 h 2"/>
              <a:gd name="T58" fmla="*/ 2147483646 w 2"/>
              <a:gd name="T59" fmla="*/ 2147483646 h 2"/>
              <a:gd name="T60" fmla="*/ 2147483646 w 2"/>
              <a:gd name="T61" fmla="*/ 2147483646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200"/>
          </a:p>
        </p:txBody>
      </p:sp>
      <p:sp>
        <p:nvSpPr>
          <p:cNvPr id="18" name="Freeform 1150"/>
          <p:cNvSpPr>
            <a:spLocks/>
          </p:cNvSpPr>
          <p:nvPr/>
        </p:nvSpPr>
        <p:spPr bwMode="auto">
          <a:xfrm>
            <a:off x="684214" y="447677"/>
            <a:ext cx="1587" cy="3175"/>
          </a:xfrm>
          <a:custGeom>
            <a:avLst/>
            <a:gdLst>
              <a:gd name="T0" fmla="*/ 0 w 1587"/>
              <a:gd name="T1" fmla="*/ 2147483646 h 2"/>
              <a:gd name="T2" fmla="*/ 0 w 1587"/>
              <a:gd name="T3" fmla="*/ 0 h 2"/>
              <a:gd name="T4" fmla="*/ 0 w 1587"/>
              <a:gd name="T5" fmla="*/ 2147483646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200"/>
          </a:p>
        </p:txBody>
      </p:sp>
      <p:sp>
        <p:nvSpPr>
          <p:cNvPr id="19" name="Freeform 1152"/>
          <p:cNvSpPr>
            <a:spLocks/>
          </p:cNvSpPr>
          <p:nvPr/>
        </p:nvSpPr>
        <p:spPr bwMode="auto">
          <a:xfrm>
            <a:off x="684214" y="447677"/>
            <a:ext cx="3175" cy="3175"/>
          </a:xfrm>
          <a:custGeom>
            <a:avLst/>
            <a:gdLst>
              <a:gd name="T0" fmla="*/ 2147483646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2147483646 h 2"/>
              <a:gd name="T10" fmla="*/ 2147483646 w 2"/>
              <a:gd name="T11" fmla="*/ 2147483646 h 2"/>
              <a:gd name="T12" fmla="*/ 2147483646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2147483646 h 2"/>
              <a:gd name="T22" fmla="*/ 2147483646 w 2"/>
              <a:gd name="T23" fmla="*/ 2147483646 h 2"/>
              <a:gd name="T24" fmla="*/ 2147483646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200"/>
          </a:p>
        </p:txBody>
      </p:sp>
      <p:sp>
        <p:nvSpPr>
          <p:cNvPr id="20" name="Freeform 1154"/>
          <p:cNvSpPr>
            <a:spLocks/>
          </p:cNvSpPr>
          <p:nvPr/>
        </p:nvSpPr>
        <p:spPr bwMode="auto">
          <a:xfrm>
            <a:off x="665164" y="434975"/>
            <a:ext cx="3175" cy="1588"/>
          </a:xfrm>
          <a:custGeom>
            <a:avLst/>
            <a:gdLst>
              <a:gd name="T0" fmla="*/ 2147483646 w 2"/>
              <a:gd name="T1" fmla="*/ 0 h 1588"/>
              <a:gd name="T2" fmla="*/ 0 w 2"/>
              <a:gd name="T3" fmla="*/ 0 h 1588"/>
              <a:gd name="T4" fmla="*/ 2147483646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200"/>
          </a:p>
        </p:txBody>
      </p:sp>
      <p:sp>
        <p:nvSpPr>
          <p:cNvPr id="21" name="Freeform 1156"/>
          <p:cNvSpPr>
            <a:spLocks/>
          </p:cNvSpPr>
          <p:nvPr/>
        </p:nvSpPr>
        <p:spPr bwMode="auto">
          <a:xfrm>
            <a:off x="665164" y="431801"/>
            <a:ext cx="3175" cy="3175"/>
          </a:xfrm>
          <a:custGeom>
            <a:avLst/>
            <a:gdLst>
              <a:gd name="T0" fmla="*/ 2147483646 w 2"/>
              <a:gd name="T1" fmla="*/ 2147483646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2147483646 h 2"/>
              <a:gd name="T8" fmla="*/ 2147483646 w 2"/>
              <a:gd name="T9" fmla="*/ 2147483646 h 2"/>
              <a:gd name="T10" fmla="*/ 2147483646 w 2"/>
              <a:gd name="T11" fmla="*/ 2147483646 h 2"/>
              <a:gd name="T12" fmla="*/ 2147483646 w 2"/>
              <a:gd name="T13" fmla="*/ 2147483646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2147483646 h 2"/>
              <a:gd name="T20" fmla="*/ 2147483646 w 2"/>
              <a:gd name="T21" fmla="*/ 2147483646 h 2"/>
              <a:gd name="T22" fmla="*/ 2147483646 w 2"/>
              <a:gd name="T23" fmla="*/ 2147483646 h 2"/>
              <a:gd name="T24" fmla="*/ 2147483646 w 2"/>
              <a:gd name="T25" fmla="*/ 2147483646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200"/>
          </a:p>
        </p:txBody>
      </p:sp>
      <p:sp>
        <p:nvSpPr>
          <p:cNvPr id="22" name="Freeform 1163"/>
          <p:cNvSpPr>
            <a:spLocks/>
          </p:cNvSpPr>
          <p:nvPr/>
        </p:nvSpPr>
        <p:spPr bwMode="auto">
          <a:xfrm>
            <a:off x="611188" y="415927"/>
            <a:ext cx="6350" cy="3175"/>
          </a:xfrm>
          <a:custGeom>
            <a:avLst/>
            <a:gdLst>
              <a:gd name="T0" fmla="*/ 2147483646 w 4"/>
              <a:gd name="T1" fmla="*/ 2147483646 h 2"/>
              <a:gd name="T2" fmla="*/ 2147483646 w 4"/>
              <a:gd name="T3" fmla="*/ 2147483646 h 2"/>
              <a:gd name="T4" fmla="*/ 2147483646 w 4"/>
              <a:gd name="T5" fmla="*/ 2147483646 h 2"/>
              <a:gd name="T6" fmla="*/ 2147483646 w 4"/>
              <a:gd name="T7" fmla="*/ 0 h 2"/>
              <a:gd name="T8" fmla="*/ 2147483646 w 4"/>
              <a:gd name="T9" fmla="*/ 0 h 2"/>
              <a:gd name="T10" fmla="*/ 2147483646 w 4"/>
              <a:gd name="T11" fmla="*/ 0 h 2"/>
              <a:gd name="T12" fmla="*/ 2147483646 w 4"/>
              <a:gd name="T13" fmla="*/ 0 h 2"/>
              <a:gd name="T14" fmla="*/ 0 w 4"/>
              <a:gd name="T15" fmla="*/ 2147483646 h 2"/>
              <a:gd name="T16" fmla="*/ 2147483646 w 4"/>
              <a:gd name="T17" fmla="*/ 2147483646 h 2"/>
              <a:gd name="T18" fmla="*/ 2147483646 w 4"/>
              <a:gd name="T19" fmla="*/ 0 h 2"/>
              <a:gd name="T20" fmla="*/ 2147483646 w 4"/>
              <a:gd name="T21" fmla="*/ 2147483646 h 2"/>
              <a:gd name="T22" fmla="*/ 2147483646 w 4"/>
              <a:gd name="T23" fmla="*/ 0 h 2"/>
              <a:gd name="T24" fmla="*/ 2147483646 w 4"/>
              <a:gd name="T25" fmla="*/ 0 h 2"/>
              <a:gd name="T26" fmla="*/ 2147483646 w 4"/>
              <a:gd name="T27" fmla="*/ 0 h 2"/>
              <a:gd name="T28" fmla="*/ 2147483646 w 4"/>
              <a:gd name="T29" fmla="*/ 0 h 2"/>
              <a:gd name="T30" fmla="*/ 0 w 4"/>
              <a:gd name="T31" fmla="*/ 0 h 2"/>
              <a:gd name="T32" fmla="*/ 2147483646 w 4"/>
              <a:gd name="T33" fmla="*/ 2147483646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200"/>
          </a:p>
        </p:txBody>
      </p:sp>
      <p:sp>
        <p:nvSpPr>
          <p:cNvPr id="23" name="Freeform 1172"/>
          <p:cNvSpPr>
            <a:spLocks/>
          </p:cNvSpPr>
          <p:nvPr/>
        </p:nvSpPr>
        <p:spPr bwMode="auto">
          <a:xfrm>
            <a:off x="582614" y="476252"/>
            <a:ext cx="3175" cy="3175"/>
          </a:xfrm>
          <a:custGeom>
            <a:avLst/>
            <a:gdLst>
              <a:gd name="T0" fmla="*/ 0 w 2"/>
              <a:gd name="T1" fmla="*/ 2147483646 h 2"/>
              <a:gd name="T2" fmla="*/ 0 w 2"/>
              <a:gd name="T3" fmla="*/ 2147483646 h 2"/>
              <a:gd name="T4" fmla="*/ 2147483646 w 2"/>
              <a:gd name="T5" fmla="*/ 2147483646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2147483646 h 2"/>
              <a:gd name="T14" fmla="*/ 0 w 2"/>
              <a:gd name="T15" fmla="*/ 2147483646 h 2"/>
              <a:gd name="T16" fmla="*/ 0 w 2"/>
              <a:gd name="T17" fmla="*/ 2147483646 h 2"/>
              <a:gd name="T18" fmla="*/ 0 w 2"/>
              <a:gd name="T19" fmla="*/ 2147483646 h 2"/>
              <a:gd name="T20" fmla="*/ 0 w 2"/>
              <a:gd name="T21" fmla="*/ 2147483646 h 2"/>
              <a:gd name="T22" fmla="*/ 0 w 2"/>
              <a:gd name="T23" fmla="*/ 2147483646 h 2"/>
              <a:gd name="T24" fmla="*/ 0 w 2"/>
              <a:gd name="T25" fmla="*/ 2147483646 h 2"/>
              <a:gd name="T26" fmla="*/ 0 w 2"/>
              <a:gd name="T27" fmla="*/ 2147483646 h 2"/>
              <a:gd name="T28" fmla="*/ 0 w 2"/>
              <a:gd name="T29" fmla="*/ 2147483646 h 2"/>
              <a:gd name="T30" fmla="*/ 0 w 2"/>
              <a:gd name="T31" fmla="*/ 2147483646 h 2"/>
              <a:gd name="T32" fmla="*/ 0 w 2"/>
              <a:gd name="T33" fmla="*/ 2147483646 h 2"/>
              <a:gd name="T34" fmla="*/ 0 w 2"/>
              <a:gd name="T35" fmla="*/ 2147483646 h 2"/>
              <a:gd name="T36" fmla="*/ 0 w 2"/>
              <a:gd name="T37" fmla="*/ 2147483646 h 2"/>
              <a:gd name="T38" fmla="*/ 0 w 2"/>
              <a:gd name="T39" fmla="*/ 2147483646 h 2"/>
              <a:gd name="T40" fmla="*/ 0 w 2"/>
              <a:gd name="T41" fmla="*/ 2147483646 h 2"/>
              <a:gd name="T42" fmla="*/ 0 w 2"/>
              <a:gd name="T43" fmla="*/ 2147483646 h 2"/>
              <a:gd name="T44" fmla="*/ 0 w 2"/>
              <a:gd name="T45" fmla="*/ 2147483646 h 2"/>
              <a:gd name="T46" fmla="*/ 0 w 2"/>
              <a:gd name="T47" fmla="*/ 2147483646 h 2"/>
              <a:gd name="T48" fmla="*/ 0 w 2"/>
              <a:gd name="T49" fmla="*/ 2147483646 h 2"/>
              <a:gd name="T50" fmla="*/ 0 w 2"/>
              <a:gd name="T51" fmla="*/ 2147483646 h 2"/>
              <a:gd name="T52" fmla="*/ 0 w 2"/>
              <a:gd name="T53" fmla="*/ 2147483646 h 2"/>
              <a:gd name="T54" fmla="*/ 0 w 2"/>
              <a:gd name="T55" fmla="*/ 2147483646 h 2"/>
              <a:gd name="T56" fmla="*/ 0 w 2"/>
              <a:gd name="T57" fmla="*/ 2147483646 h 2"/>
              <a:gd name="T58" fmla="*/ 0 w 2"/>
              <a:gd name="T59" fmla="*/ 2147483646 h 2"/>
              <a:gd name="T60" fmla="*/ 0 w 2"/>
              <a:gd name="T61" fmla="*/ 2147483646 h 2"/>
              <a:gd name="T62" fmla="*/ 0 w 2"/>
              <a:gd name="T63" fmla="*/ 2147483646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200"/>
          </a:p>
        </p:txBody>
      </p:sp>
      <p:sp>
        <p:nvSpPr>
          <p:cNvPr id="24" name="Freeform 1177"/>
          <p:cNvSpPr>
            <a:spLocks/>
          </p:cNvSpPr>
          <p:nvPr/>
        </p:nvSpPr>
        <p:spPr bwMode="auto">
          <a:xfrm>
            <a:off x="557214" y="534990"/>
            <a:ext cx="3175" cy="3175"/>
          </a:xfrm>
          <a:custGeom>
            <a:avLst/>
            <a:gdLst>
              <a:gd name="T0" fmla="*/ 0 w 2"/>
              <a:gd name="T1" fmla="*/ 2147483646 h 2"/>
              <a:gd name="T2" fmla="*/ 2147483646 w 2"/>
              <a:gd name="T3" fmla="*/ 2147483646 h 2"/>
              <a:gd name="T4" fmla="*/ 2147483646 w 2"/>
              <a:gd name="T5" fmla="*/ 2147483646 h 2"/>
              <a:gd name="T6" fmla="*/ 2147483646 w 2"/>
              <a:gd name="T7" fmla="*/ 0 h 2"/>
              <a:gd name="T8" fmla="*/ 2147483646 w 2"/>
              <a:gd name="T9" fmla="*/ 0 h 2"/>
              <a:gd name="T10" fmla="*/ 2147483646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2147483646 h 2"/>
              <a:gd name="T40" fmla="*/ 0 w 2"/>
              <a:gd name="T41" fmla="*/ 2147483646 h 2"/>
              <a:gd name="T42" fmla="*/ 2147483646 w 2"/>
              <a:gd name="T43" fmla="*/ 2147483646 h 2"/>
              <a:gd name="T44" fmla="*/ 2147483646 w 2"/>
              <a:gd name="T45" fmla="*/ 0 h 2"/>
              <a:gd name="T46" fmla="*/ 2147483646 w 2"/>
              <a:gd name="T47" fmla="*/ 0 h 2"/>
              <a:gd name="T48" fmla="*/ 2147483646 w 2"/>
              <a:gd name="T49" fmla="*/ 0 h 2"/>
              <a:gd name="T50" fmla="*/ 2147483646 w 2"/>
              <a:gd name="T51" fmla="*/ 0 h 2"/>
              <a:gd name="T52" fmla="*/ 2147483646 w 2"/>
              <a:gd name="T53" fmla="*/ 0 h 2"/>
              <a:gd name="T54" fmla="*/ 2147483646 w 2"/>
              <a:gd name="T55" fmla="*/ 0 h 2"/>
              <a:gd name="T56" fmla="*/ 2147483646 w 2"/>
              <a:gd name="T57" fmla="*/ 0 h 2"/>
              <a:gd name="T58" fmla="*/ 2147483646 w 2"/>
              <a:gd name="T59" fmla="*/ 0 h 2"/>
              <a:gd name="T60" fmla="*/ 2147483646 w 2"/>
              <a:gd name="T61" fmla="*/ 0 h 2"/>
              <a:gd name="T62" fmla="*/ 2147483646 w 2"/>
              <a:gd name="T63" fmla="*/ 0 h 2"/>
              <a:gd name="T64" fmla="*/ 2147483646 w 2"/>
              <a:gd name="T65" fmla="*/ 0 h 2"/>
              <a:gd name="T66" fmla="*/ 2147483646 w 2"/>
              <a:gd name="T67" fmla="*/ 2147483646 h 2"/>
              <a:gd name="T68" fmla="*/ 2147483646 w 2"/>
              <a:gd name="T69" fmla="*/ 0 h 2"/>
              <a:gd name="T70" fmla="*/ 2147483646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2147483646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200"/>
          </a:p>
        </p:txBody>
      </p:sp>
      <p:sp>
        <p:nvSpPr>
          <p:cNvPr id="25" name="Freeform 1180"/>
          <p:cNvSpPr>
            <a:spLocks/>
          </p:cNvSpPr>
          <p:nvPr/>
        </p:nvSpPr>
        <p:spPr bwMode="auto">
          <a:xfrm>
            <a:off x="560389" y="530227"/>
            <a:ext cx="3175" cy="4763"/>
          </a:xfrm>
          <a:custGeom>
            <a:avLst/>
            <a:gdLst>
              <a:gd name="T0" fmla="*/ 0 w 2"/>
              <a:gd name="T1" fmla="*/ 2147483646 h 3"/>
              <a:gd name="T2" fmla="*/ 0 w 2"/>
              <a:gd name="T3" fmla="*/ 2147483646 h 3"/>
              <a:gd name="T4" fmla="*/ 2147483646 w 2"/>
              <a:gd name="T5" fmla="*/ 2147483646 h 3"/>
              <a:gd name="T6" fmla="*/ 2147483646 w 2"/>
              <a:gd name="T7" fmla="*/ 2147483646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2147483646 h 3"/>
              <a:gd name="T16" fmla="*/ 0 w 2"/>
              <a:gd name="T17" fmla="*/ 2147483646 h 3"/>
              <a:gd name="T18" fmla="*/ 0 w 2"/>
              <a:gd name="T19" fmla="*/ 2147483646 h 3"/>
              <a:gd name="T20" fmla="*/ 0 w 2"/>
              <a:gd name="T21" fmla="*/ 2147483646 h 3"/>
              <a:gd name="T22" fmla="*/ 0 w 2"/>
              <a:gd name="T23" fmla="*/ 0 h 3"/>
              <a:gd name="T24" fmla="*/ 0 w 2"/>
              <a:gd name="T25" fmla="*/ 2147483646 h 3"/>
              <a:gd name="T26" fmla="*/ 0 w 2"/>
              <a:gd name="T27" fmla="*/ 2147483646 h 3"/>
              <a:gd name="T28" fmla="*/ 0 w 2"/>
              <a:gd name="T29" fmla="*/ 2147483646 h 3"/>
              <a:gd name="T30" fmla="*/ 0 w 2"/>
              <a:gd name="T31" fmla="*/ 2147483646 h 3"/>
              <a:gd name="T32" fmla="*/ 0 w 2"/>
              <a:gd name="T33" fmla="*/ 2147483646 h 3"/>
              <a:gd name="T34" fmla="*/ 0 w 2"/>
              <a:gd name="T35" fmla="*/ 2147483646 h 3"/>
              <a:gd name="T36" fmla="*/ 0 w 2"/>
              <a:gd name="T37" fmla="*/ 2147483646 h 3"/>
              <a:gd name="T38" fmla="*/ 0 w 2"/>
              <a:gd name="T39" fmla="*/ 2147483646 h 3"/>
              <a:gd name="T40" fmla="*/ 0 w 2"/>
              <a:gd name="T41" fmla="*/ 2147483646 h 3"/>
              <a:gd name="T42" fmla="*/ 0 w 2"/>
              <a:gd name="T43" fmla="*/ 2147483646 h 3"/>
              <a:gd name="T44" fmla="*/ 0 w 2"/>
              <a:gd name="T45" fmla="*/ 2147483646 h 3"/>
              <a:gd name="T46" fmla="*/ 0 w 2"/>
              <a:gd name="T47" fmla="*/ 2147483646 h 3"/>
              <a:gd name="T48" fmla="*/ 0 w 2"/>
              <a:gd name="T49" fmla="*/ 2147483646 h 3"/>
              <a:gd name="T50" fmla="*/ 0 w 2"/>
              <a:gd name="T51" fmla="*/ 2147483646 h 3"/>
              <a:gd name="T52" fmla="*/ 0 w 2"/>
              <a:gd name="T53" fmla="*/ 2147483646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200"/>
          </a:p>
        </p:txBody>
      </p:sp>
      <p:sp>
        <p:nvSpPr>
          <p:cNvPr id="26" name="Line 1187"/>
          <p:cNvSpPr>
            <a:spLocks noChangeShapeType="1"/>
          </p:cNvSpPr>
          <p:nvPr/>
        </p:nvSpPr>
        <p:spPr bwMode="auto">
          <a:xfrm>
            <a:off x="569914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200"/>
          </a:p>
        </p:txBody>
      </p:sp>
      <p:sp>
        <p:nvSpPr>
          <p:cNvPr id="27" name="Line 1188"/>
          <p:cNvSpPr>
            <a:spLocks noChangeShapeType="1"/>
          </p:cNvSpPr>
          <p:nvPr/>
        </p:nvSpPr>
        <p:spPr bwMode="auto">
          <a:xfrm>
            <a:off x="569914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200"/>
          </a:p>
        </p:txBody>
      </p:sp>
      <p:sp>
        <p:nvSpPr>
          <p:cNvPr id="28" name="Freeform 1208"/>
          <p:cNvSpPr>
            <a:spLocks/>
          </p:cNvSpPr>
          <p:nvPr/>
        </p:nvSpPr>
        <p:spPr bwMode="auto">
          <a:xfrm>
            <a:off x="595313" y="557215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200"/>
          </a:p>
        </p:txBody>
      </p:sp>
      <p:sp>
        <p:nvSpPr>
          <p:cNvPr id="29" name="Freeform 1210"/>
          <p:cNvSpPr>
            <a:spLocks/>
          </p:cNvSpPr>
          <p:nvPr/>
        </p:nvSpPr>
        <p:spPr bwMode="auto">
          <a:xfrm>
            <a:off x="595314" y="557215"/>
            <a:ext cx="3175" cy="3175"/>
          </a:xfrm>
          <a:custGeom>
            <a:avLst/>
            <a:gdLst>
              <a:gd name="T0" fmla="*/ 0 w 2"/>
              <a:gd name="T1" fmla="*/ 2147483646 h 2"/>
              <a:gd name="T2" fmla="*/ 0 w 2"/>
              <a:gd name="T3" fmla="*/ 2147483646 h 2"/>
              <a:gd name="T4" fmla="*/ 2147483646 w 2"/>
              <a:gd name="T5" fmla="*/ 2147483646 h 2"/>
              <a:gd name="T6" fmla="*/ 2147483646 w 2"/>
              <a:gd name="T7" fmla="*/ 0 h 2"/>
              <a:gd name="T8" fmla="*/ 2147483646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2147483646 h 2"/>
              <a:gd name="T18" fmla="*/ 0 w 2"/>
              <a:gd name="T19" fmla="*/ 2147483646 h 2"/>
              <a:gd name="T20" fmla="*/ 2147483646 w 2"/>
              <a:gd name="T21" fmla="*/ 2147483646 h 2"/>
              <a:gd name="T22" fmla="*/ 2147483646 w 2"/>
              <a:gd name="T23" fmla="*/ 0 h 2"/>
              <a:gd name="T24" fmla="*/ 2147483646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2147483646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200"/>
          </a:p>
        </p:txBody>
      </p:sp>
      <p:sp>
        <p:nvSpPr>
          <p:cNvPr id="30" name="Freeform 1214"/>
          <p:cNvSpPr>
            <a:spLocks/>
          </p:cNvSpPr>
          <p:nvPr/>
        </p:nvSpPr>
        <p:spPr bwMode="auto">
          <a:xfrm>
            <a:off x="595314" y="557215"/>
            <a:ext cx="3175" cy="3175"/>
          </a:xfrm>
          <a:custGeom>
            <a:avLst/>
            <a:gdLst>
              <a:gd name="T0" fmla="*/ 0 w 2"/>
              <a:gd name="T1" fmla="*/ 2147483646 h 2"/>
              <a:gd name="T2" fmla="*/ 2147483646 w 2"/>
              <a:gd name="T3" fmla="*/ 2147483646 h 2"/>
              <a:gd name="T4" fmla="*/ 0 w 2"/>
              <a:gd name="T5" fmla="*/ 0 h 2"/>
              <a:gd name="T6" fmla="*/ 0 w 2"/>
              <a:gd name="T7" fmla="*/ 2147483646 h 2"/>
              <a:gd name="T8" fmla="*/ 0 w 2"/>
              <a:gd name="T9" fmla="*/ 2147483646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200"/>
          </a:p>
        </p:txBody>
      </p:sp>
      <p:sp>
        <p:nvSpPr>
          <p:cNvPr id="31" name="Rectangle 1215"/>
          <p:cNvSpPr>
            <a:spLocks noChangeArrowheads="1"/>
          </p:cNvSpPr>
          <p:nvPr/>
        </p:nvSpPr>
        <p:spPr bwMode="auto">
          <a:xfrm>
            <a:off x="595313" y="627065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975" b="0"/>
          </a:p>
        </p:txBody>
      </p:sp>
      <p:sp>
        <p:nvSpPr>
          <p:cNvPr id="32" name="Freeform 1217"/>
          <p:cNvSpPr>
            <a:spLocks/>
          </p:cNvSpPr>
          <p:nvPr/>
        </p:nvSpPr>
        <p:spPr bwMode="auto">
          <a:xfrm>
            <a:off x="595313" y="627065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200"/>
          </a:p>
        </p:txBody>
      </p:sp>
      <p:sp>
        <p:nvSpPr>
          <p:cNvPr id="33" name="Freeform 1219"/>
          <p:cNvSpPr>
            <a:spLocks/>
          </p:cNvSpPr>
          <p:nvPr/>
        </p:nvSpPr>
        <p:spPr bwMode="auto">
          <a:xfrm>
            <a:off x="731839" y="541340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200"/>
          </a:p>
        </p:txBody>
      </p:sp>
      <p:sp>
        <p:nvSpPr>
          <p:cNvPr id="34" name="Freeform 1221"/>
          <p:cNvSpPr>
            <a:spLocks/>
          </p:cNvSpPr>
          <p:nvPr/>
        </p:nvSpPr>
        <p:spPr bwMode="auto">
          <a:xfrm>
            <a:off x="731839" y="541340"/>
            <a:ext cx="3175" cy="3175"/>
          </a:xfrm>
          <a:custGeom>
            <a:avLst/>
            <a:gdLst>
              <a:gd name="T0" fmla="*/ 2147483646 w 2"/>
              <a:gd name="T1" fmla="*/ 0 h 2"/>
              <a:gd name="T2" fmla="*/ 2147483646 w 2"/>
              <a:gd name="T3" fmla="*/ 0 h 2"/>
              <a:gd name="T4" fmla="*/ 2147483646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2147483646 h 2"/>
              <a:gd name="T12" fmla="*/ 2147483646 w 2"/>
              <a:gd name="T13" fmla="*/ 0 h 2"/>
              <a:gd name="T14" fmla="*/ 2147483646 w 2"/>
              <a:gd name="T15" fmla="*/ 0 h 2"/>
              <a:gd name="T16" fmla="*/ 2147483646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2147483646 h 2"/>
              <a:gd name="T24" fmla="*/ 2147483646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200"/>
          </a:p>
        </p:txBody>
      </p:sp>
      <p:sp>
        <p:nvSpPr>
          <p:cNvPr id="35" name="Freeform 1234"/>
          <p:cNvSpPr>
            <a:spLocks/>
          </p:cNvSpPr>
          <p:nvPr/>
        </p:nvSpPr>
        <p:spPr bwMode="auto">
          <a:xfrm>
            <a:off x="722314" y="550865"/>
            <a:ext cx="3175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2147483646 w 2"/>
              <a:gd name="T5" fmla="*/ 0 h 1587"/>
              <a:gd name="T6" fmla="*/ 2147483646 w 2"/>
              <a:gd name="T7" fmla="*/ 0 h 1587"/>
              <a:gd name="T8" fmla="*/ 2147483646 w 2"/>
              <a:gd name="T9" fmla="*/ 0 h 1587"/>
              <a:gd name="T10" fmla="*/ 2147483646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2147483646 w 2"/>
              <a:gd name="T25" fmla="*/ 0 h 1587"/>
              <a:gd name="T26" fmla="*/ 2147483646 w 2"/>
              <a:gd name="T27" fmla="*/ 0 h 1587"/>
              <a:gd name="T28" fmla="*/ 2147483646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2147483646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200"/>
          </a:p>
        </p:txBody>
      </p:sp>
      <p:sp>
        <p:nvSpPr>
          <p:cNvPr id="36" name="Line 1237"/>
          <p:cNvSpPr>
            <a:spLocks noChangeShapeType="1"/>
          </p:cNvSpPr>
          <p:nvPr/>
        </p:nvSpPr>
        <p:spPr bwMode="auto">
          <a:xfrm>
            <a:off x="728663" y="544515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200"/>
          </a:p>
        </p:txBody>
      </p:sp>
      <p:sp>
        <p:nvSpPr>
          <p:cNvPr id="37" name="Line 1238"/>
          <p:cNvSpPr>
            <a:spLocks noChangeShapeType="1"/>
          </p:cNvSpPr>
          <p:nvPr/>
        </p:nvSpPr>
        <p:spPr bwMode="auto">
          <a:xfrm>
            <a:off x="728663" y="544515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200"/>
          </a:p>
        </p:txBody>
      </p:sp>
      <p:sp>
        <p:nvSpPr>
          <p:cNvPr id="38" name="Freeform 1240"/>
          <p:cNvSpPr>
            <a:spLocks/>
          </p:cNvSpPr>
          <p:nvPr/>
        </p:nvSpPr>
        <p:spPr bwMode="auto">
          <a:xfrm>
            <a:off x="728663" y="541340"/>
            <a:ext cx="1587" cy="3175"/>
          </a:xfrm>
          <a:custGeom>
            <a:avLst/>
            <a:gdLst>
              <a:gd name="T0" fmla="*/ 0 w 1587"/>
              <a:gd name="T1" fmla="*/ 2147483646 h 2"/>
              <a:gd name="T2" fmla="*/ 0 w 1587"/>
              <a:gd name="T3" fmla="*/ 2147483646 h 2"/>
              <a:gd name="T4" fmla="*/ 0 w 1587"/>
              <a:gd name="T5" fmla="*/ 0 h 2"/>
              <a:gd name="T6" fmla="*/ 0 w 1587"/>
              <a:gd name="T7" fmla="*/ 2147483646 h 2"/>
              <a:gd name="T8" fmla="*/ 0 w 1587"/>
              <a:gd name="T9" fmla="*/ 2147483646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200"/>
          </a:p>
        </p:txBody>
      </p:sp>
      <p:sp>
        <p:nvSpPr>
          <p:cNvPr id="39" name="Freeform 1243"/>
          <p:cNvSpPr>
            <a:spLocks/>
          </p:cNvSpPr>
          <p:nvPr/>
        </p:nvSpPr>
        <p:spPr bwMode="auto">
          <a:xfrm>
            <a:off x="728664" y="538165"/>
            <a:ext cx="3175" cy="3175"/>
          </a:xfrm>
          <a:custGeom>
            <a:avLst/>
            <a:gdLst>
              <a:gd name="T0" fmla="*/ 2147483646 w 2"/>
              <a:gd name="T1" fmla="*/ 2147483646 h 2"/>
              <a:gd name="T2" fmla="*/ 2147483646 w 2"/>
              <a:gd name="T3" fmla="*/ 2147483646 h 2"/>
              <a:gd name="T4" fmla="*/ 2147483646 w 2"/>
              <a:gd name="T5" fmla="*/ 2147483646 h 2"/>
              <a:gd name="T6" fmla="*/ 2147483646 w 2"/>
              <a:gd name="T7" fmla="*/ 2147483646 h 2"/>
              <a:gd name="T8" fmla="*/ 0 w 2"/>
              <a:gd name="T9" fmla="*/ 2147483646 h 2"/>
              <a:gd name="T10" fmla="*/ 0 w 2"/>
              <a:gd name="T11" fmla="*/ 2147483646 h 2"/>
              <a:gd name="T12" fmla="*/ 2147483646 w 2"/>
              <a:gd name="T13" fmla="*/ 2147483646 h 2"/>
              <a:gd name="T14" fmla="*/ 0 w 2"/>
              <a:gd name="T15" fmla="*/ 2147483646 h 2"/>
              <a:gd name="T16" fmla="*/ 0 w 2"/>
              <a:gd name="T17" fmla="*/ 2147483646 h 2"/>
              <a:gd name="T18" fmla="*/ 0 w 2"/>
              <a:gd name="T19" fmla="*/ 2147483646 h 2"/>
              <a:gd name="T20" fmla="*/ 0 w 2"/>
              <a:gd name="T21" fmla="*/ 2147483646 h 2"/>
              <a:gd name="T22" fmla="*/ 0 w 2"/>
              <a:gd name="T23" fmla="*/ 2147483646 h 2"/>
              <a:gd name="T24" fmla="*/ 0 w 2"/>
              <a:gd name="T25" fmla="*/ 2147483646 h 2"/>
              <a:gd name="T26" fmla="*/ 0 w 2"/>
              <a:gd name="T27" fmla="*/ 2147483646 h 2"/>
              <a:gd name="T28" fmla="*/ 0 w 2"/>
              <a:gd name="T29" fmla="*/ 2147483646 h 2"/>
              <a:gd name="T30" fmla="*/ 0 w 2"/>
              <a:gd name="T31" fmla="*/ 2147483646 h 2"/>
              <a:gd name="T32" fmla="*/ 0 w 2"/>
              <a:gd name="T33" fmla="*/ 2147483646 h 2"/>
              <a:gd name="T34" fmla="*/ 0 w 2"/>
              <a:gd name="T35" fmla="*/ 2147483646 h 2"/>
              <a:gd name="T36" fmla="*/ 0 w 2"/>
              <a:gd name="T37" fmla="*/ 2147483646 h 2"/>
              <a:gd name="T38" fmla="*/ 2147483646 w 2"/>
              <a:gd name="T39" fmla="*/ 2147483646 h 2"/>
              <a:gd name="T40" fmla="*/ 2147483646 w 2"/>
              <a:gd name="T41" fmla="*/ 2147483646 h 2"/>
              <a:gd name="T42" fmla="*/ 2147483646 w 2"/>
              <a:gd name="T43" fmla="*/ 2147483646 h 2"/>
              <a:gd name="T44" fmla="*/ 2147483646 w 2"/>
              <a:gd name="T45" fmla="*/ 2147483646 h 2"/>
              <a:gd name="T46" fmla="*/ 2147483646 w 2"/>
              <a:gd name="T47" fmla="*/ 2147483646 h 2"/>
              <a:gd name="T48" fmla="*/ 0 w 2"/>
              <a:gd name="T49" fmla="*/ 0 h 2"/>
              <a:gd name="T50" fmla="*/ 0 w 2"/>
              <a:gd name="T51" fmla="*/ 2147483646 h 2"/>
              <a:gd name="T52" fmla="*/ 0 w 2"/>
              <a:gd name="T53" fmla="*/ 2147483646 h 2"/>
              <a:gd name="T54" fmla="*/ 0 w 2"/>
              <a:gd name="T55" fmla="*/ 2147483646 h 2"/>
              <a:gd name="T56" fmla="*/ 2147483646 w 2"/>
              <a:gd name="T57" fmla="*/ 2147483646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200"/>
          </a:p>
        </p:txBody>
      </p:sp>
      <p:sp>
        <p:nvSpPr>
          <p:cNvPr id="40" name="Freeform 1246"/>
          <p:cNvSpPr>
            <a:spLocks/>
          </p:cNvSpPr>
          <p:nvPr/>
        </p:nvSpPr>
        <p:spPr bwMode="auto">
          <a:xfrm>
            <a:off x="725489" y="547690"/>
            <a:ext cx="3175" cy="3175"/>
          </a:xfrm>
          <a:custGeom>
            <a:avLst/>
            <a:gdLst>
              <a:gd name="T0" fmla="*/ 0 w 2"/>
              <a:gd name="T1" fmla="*/ 2147483646 h 2"/>
              <a:gd name="T2" fmla="*/ 0 w 2"/>
              <a:gd name="T3" fmla="*/ 2147483646 h 2"/>
              <a:gd name="T4" fmla="*/ 2147483646 w 2"/>
              <a:gd name="T5" fmla="*/ 0 h 2"/>
              <a:gd name="T6" fmla="*/ 2147483646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2147483646 h 2"/>
              <a:gd name="T14" fmla="*/ 0 w 2"/>
              <a:gd name="T15" fmla="*/ 2147483646 h 2"/>
              <a:gd name="T16" fmla="*/ 2147483646 w 2"/>
              <a:gd name="T17" fmla="*/ 0 h 2"/>
              <a:gd name="T18" fmla="*/ 2147483646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2147483646 h 2"/>
              <a:gd name="T48" fmla="*/ 0 w 2"/>
              <a:gd name="T49" fmla="*/ 2147483646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200"/>
          </a:p>
        </p:txBody>
      </p:sp>
      <p:sp>
        <p:nvSpPr>
          <p:cNvPr id="41" name="Freeform 1250"/>
          <p:cNvSpPr>
            <a:spLocks/>
          </p:cNvSpPr>
          <p:nvPr/>
        </p:nvSpPr>
        <p:spPr bwMode="auto">
          <a:xfrm>
            <a:off x="731839" y="530225"/>
            <a:ext cx="3175" cy="1588"/>
          </a:xfrm>
          <a:custGeom>
            <a:avLst/>
            <a:gdLst>
              <a:gd name="T0" fmla="*/ 2147483646 w 2"/>
              <a:gd name="T1" fmla="*/ 0 h 1588"/>
              <a:gd name="T2" fmla="*/ 0 w 2"/>
              <a:gd name="T3" fmla="*/ 0 h 1588"/>
              <a:gd name="T4" fmla="*/ 2147483646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200"/>
          </a:p>
        </p:txBody>
      </p:sp>
      <p:sp>
        <p:nvSpPr>
          <p:cNvPr id="42" name="Freeform 1252"/>
          <p:cNvSpPr>
            <a:spLocks/>
          </p:cNvSpPr>
          <p:nvPr/>
        </p:nvSpPr>
        <p:spPr bwMode="auto">
          <a:xfrm>
            <a:off x="731839" y="527050"/>
            <a:ext cx="3175" cy="7938"/>
          </a:xfrm>
          <a:custGeom>
            <a:avLst/>
            <a:gdLst>
              <a:gd name="T0" fmla="*/ 2147483646 w 2"/>
              <a:gd name="T1" fmla="*/ 2147483646 h 5"/>
              <a:gd name="T2" fmla="*/ 2147483646 w 2"/>
              <a:gd name="T3" fmla="*/ 2147483646 h 5"/>
              <a:gd name="T4" fmla="*/ 0 w 2"/>
              <a:gd name="T5" fmla="*/ 0 h 5"/>
              <a:gd name="T6" fmla="*/ 0 w 2"/>
              <a:gd name="T7" fmla="*/ 2147483646 h 5"/>
              <a:gd name="T8" fmla="*/ 0 w 2"/>
              <a:gd name="T9" fmla="*/ 2147483646 h 5"/>
              <a:gd name="T10" fmla="*/ 2147483646 w 2"/>
              <a:gd name="T11" fmla="*/ 2147483646 h 5"/>
              <a:gd name="T12" fmla="*/ 2147483646 w 2"/>
              <a:gd name="T13" fmla="*/ 2147483646 h 5"/>
              <a:gd name="T14" fmla="*/ 2147483646 w 2"/>
              <a:gd name="T15" fmla="*/ 2147483646 h 5"/>
              <a:gd name="T16" fmla="*/ 0 w 2"/>
              <a:gd name="T17" fmla="*/ 0 h 5"/>
              <a:gd name="T18" fmla="*/ 0 w 2"/>
              <a:gd name="T19" fmla="*/ 2147483646 h 5"/>
              <a:gd name="T20" fmla="*/ 0 w 2"/>
              <a:gd name="T21" fmla="*/ 2147483646 h 5"/>
              <a:gd name="T22" fmla="*/ 2147483646 w 2"/>
              <a:gd name="T23" fmla="*/ 2147483646 h 5"/>
              <a:gd name="T24" fmla="*/ 2147483646 w 2"/>
              <a:gd name="T25" fmla="*/ 2147483646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200"/>
          </a:p>
        </p:txBody>
      </p:sp>
      <p:sp>
        <p:nvSpPr>
          <p:cNvPr id="43" name="Freeform 1255"/>
          <p:cNvSpPr>
            <a:spLocks/>
          </p:cNvSpPr>
          <p:nvPr/>
        </p:nvSpPr>
        <p:spPr bwMode="auto">
          <a:xfrm>
            <a:off x="712789" y="550865"/>
            <a:ext cx="3175" cy="1587"/>
          </a:xfrm>
          <a:custGeom>
            <a:avLst/>
            <a:gdLst>
              <a:gd name="T0" fmla="*/ 0 w 2"/>
              <a:gd name="T1" fmla="*/ 0 h 1587"/>
              <a:gd name="T2" fmla="*/ 2147483646 w 2"/>
              <a:gd name="T3" fmla="*/ 0 h 1587"/>
              <a:gd name="T4" fmla="*/ 2147483646 w 2"/>
              <a:gd name="T5" fmla="*/ 0 h 1587"/>
              <a:gd name="T6" fmla="*/ 2147483646 w 2"/>
              <a:gd name="T7" fmla="*/ 0 h 1587"/>
              <a:gd name="T8" fmla="*/ 2147483646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2147483646 w 2"/>
              <a:gd name="T19" fmla="*/ 0 h 1587"/>
              <a:gd name="T20" fmla="*/ 2147483646 w 2"/>
              <a:gd name="T21" fmla="*/ 0 h 1587"/>
              <a:gd name="T22" fmla="*/ 2147483646 w 2"/>
              <a:gd name="T23" fmla="*/ 0 h 1587"/>
              <a:gd name="T24" fmla="*/ 2147483646 w 2"/>
              <a:gd name="T25" fmla="*/ 0 h 1587"/>
              <a:gd name="T26" fmla="*/ 2147483646 w 2"/>
              <a:gd name="T27" fmla="*/ 0 h 1587"/>
              <a:gd name="T28" fmla="*/ 2147483646 w 2"/>
              <a:gd name="T29" fmla="*/ 0 h 1587"/>
              <a:gd name="T30" fmla="*/ 2147483646 w 2"/>
              <a:gd name="T31" fmla="*/ 0 h 1587"/>
              <a:gd name="T32" fmla="*/ 2147483646 w 2"/>
              <a:gd name="T33" fmla="*/ 0 h 1587"/>
              <a:gd name="T34" fmla="*/ 2147483646 w 2"/>
              <a:gd name="T35" fmla="*/ 0 h 1587"/>
              <a:gd name="T36" fmla="*/ 2147483646 w 2"/>
              <a:gd name="T37" fmla="*/ 0 h 1587"/>
              <a:gd name="T38" fmla="*/ 2147483646 w 2"/>
              <a:gd name="T39" fmla="*/ 0 h 1587"/>
              <a:gd name="T40" fmla="*/ 2147483646 w 2"/>
              <a:gd name="T41" fmla="*/ 0 h 1587"/>
              <a:gd name="T42" fmla="*/ 2147483646 w 2"/>
              <a:gd name="T43" fmla="*/ 0 h 1587"/>
              <a:gd name="T44" fmla="*/ 2147483646 w 2"/>
              <a:gd name="T45" fmla="*/ 0 h 1587"/>
              <a:gd name="T46" fmla="*/ 2147483646 w 2"/>
              <a:gd name="T47" fmla="*/ 0 h 1587"/>
              <a:gd name="T48" fmla="*/ 2147483646 w 2"/>
              <a:gd name="T49" fmla="*/ 0 h 1587"/>
              <a:gd name="T50" fmla="*/ 2147483646 w 2"/>
              <a:gd name="T51" fmla="*/ 0 h 1587"/>
              <a:gd name="T52" fmla="*/ 2147483646 w 2"/>
              <a:gd name="T53" fmla="*/ 0 h 1587"/>
              <a:gd name="T54" fmla="*/ 2147483646 w 2"/>
              <a:gd name="T55" fmla="*/ 0 h 1587"/>
              <a:gd name="T56" fmla="*/ 2147483646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200"/>
          </a:p>
        </p:txBody>
      </p:sp>
      <p:sp>
        <p:nvSpPr>
          <p:cNvPr id="44" name="Rectangle 1256"/>
          <p:cNvSpPr>
            <a:spLocks noChangeArrowheads="1"/>
          </p:cNvSpPr>
          <p:nvPr/>
        </p:nvSpPr>
        <p:spPr bwMode="auto">
          <a:xfrm>
            <a:off x="722314" y="550865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975" b="0"/>
          </a:p>
        </p:txBody>
      </p:sp>
      <p:sp>
        <p:nvSpPr>
          <p:cNvPr id="45" name="Freeform 1258"/>
          <p:cNvSpPr>
            <a:spLocks/>
          </p:cNvSpPr>
          <p:nvPr/>
        </p:nvSpPr>
        <p:spPr bwMode="auto">
          <a:xfrm>
            <a:off x="722314" y="550865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200"/>
          </a:p>
        </p:txBody>
      </p:sp>
      <p:sp>
        <p:nvSpPr>
          <p:cNvPr id="46" name="Freeform 1266"/>
          <p:cNvSpPr>
            <a:spLocks/>
          </p:cNvSpPr>
          <p:nvPr/>
        </p:nvSpPr>
        <p:spPr bwMode="auto">
          <a:xfrm>
            <a:off x="728663" y="534990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200"/>
          </a:p>
        </p:txBody>
      </p:sp>
      <p:sp>
        <p:nvSpPr>
          <p:cNvPr id="47" name="Freeform 1269"/>
          <p:cNvSpPr>
            <a:spLocks/>
          </p:cNvSpPr>
          <p:nvPr/>
        </p:nvSpPr>
        <p:spPr bwMode="auto">
          <a:xfrm>
            <a:off x="728664" y="530227"/>
            <a:ext cx="3175" cy="4763"/>
          </a:xfrm>
          <a:custGeom>
            <a:avLst/>
            <a:gdLst>
              <a:gd name="T0" fmla="*/ 0 w 2"/>
              <a:gd name="T1" fmla="*/ 2147483646 h 3"/>
              <a:gd name="T2" fmla="*/ 2147483646 w 2"/>
              <a:gd name="T3" fmla="*/ 0 h 3"/>
              <a:gd name="T4" fmla="*/ 2147483646 w 2"/>
              <a:gd name="T5" fmla="*/ 0 h 3"/>
              <a:gd name="T6" fmla="*/ 2147483646 w 2"/>
              <a:gd name="T7" fmla="*/ 0 h 3"/>
              <a:gd name="T8" fmla="*/ 2147483646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2147483646 h 3"/>
              <a:gd name="T16" fmla="*/ 0 w 2"/>
              <a:gd name="T17" fmla="*/ 2147483646 h 3"/>
              <a:gd name="T18" fmla="*/ 2147483646 w 2"/>
              <a:gd name="T19" fmla="*/ 0 h 3"/>
              <a:gd name="T20" fmla="*/ 2147483646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2147483646 h 3"/>
              <a:gd name="T40" fmla="*/ 0 w 2"/>
              <a:gd name="T41" fmla="*/ 2147483646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200"/>
          </a:p>
        </p:txBody>
      </p:sp>
      <p:sp>
        <p:nvSpPr>
          <p:cNvPr id="48" name="Line 1270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200"/>
          </a:p>
        </p:txBody>
      </p:sp>
      <p:sp>
        <p:nvSpPr>
          <p:cNvPr id="49" name="Line 1271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200"/>
          </a:p>
        </p:txBody>
      </p:sp>
      <p:sp>
        <p:nvSpPr>
          <p:cNvPr id="50" name="Rectangle 1272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975" b="0"/>
          </a:p>
        </p:txBody>
      </p:sp>
      <p:sp>
        <p:nvSpPr>
          <p:cNvPr id="51" name="Rectangle 1273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975" b="0"/>
          </a:p>
        </p:txBody>
      </p:sp>
      <p:sp>
        <p:nvSpPr>
          <p:cNvPr id="52" name="Line 1274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200"/>
          </a:p>
        </p:txBody>
      </p:sp>
      <p:sp>
        <p:nvSpPr>
          <p:cNvPr id="53" name="Line 1275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200"/>
          </a:p>
        </p:txBody>
      </p:sp>
      <p:sp>
        <p:nvSpPr>
          <p:cNvPr id="54" name="Freeform 1277"/>
          <p:cNvSpPr>
            <a:spLocks/>
          </p:cNvSpPr>
          <p:nvPr/>
        </p:nvSpPr>
        <p:spPr bwMode="auto">
          <a:xfrm>
            <a:off x="728663" y="523877"/>
            <a:ext cx="1587" cy="3175"/>
          </a:xfrm>
          <a:custGeom>
            <a:avLst/>
            <a:gdLst>
              <a:gd name="T0" fmla="*/ 0 w 1587"/>
              <a:gd name="T1" fmla="*/ 2147483646 h 2"/>
              <a:gd name="T2" fmla="*/ 0 w 1587"/>
              <a:gd name="T3" fmla="*/ 2147483646 h 2"/>
              <a:gd name="T4" fmla="*/ 0 w 1587"/>
              <a:gd name="T5" fmla="*/ 0 h 2"/>
              <a:gd name="T6" fmla="*/ 0 w 1587"/>
              <a:gd name="T7" fmla="*/ 2147483646 h 2"/>
              <a:gd name="T8" fmla="*/ 0 w 1587"/>
              <a:gd name="T9" fmla="*/ 2147483646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200"/>
          </a:p>
        </p:txBody>
      </p:sp>
      <p:sp>
        <p:nvSpPr>
          <p:cNvPr id="55" name="Freeform 1287"/>
          <p:cNvSpPr>
            <a:spLocks/>
          </p:cNvSpPr>
          <p:nvPr/>
        </p:nvSpPr>
        <p:spPr bwMode="auto">
          <a:xfrm>
            <a:off x="719139" y="5143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2147483646 h 2"/>
              <a:gd name="T4" fmla="*/ 2147483646 w 2"/>
              <a:gd name="T5" fmla="*/ 2147483646 h 2"/>
              <a:gd name="T6" fmla="*/ 2147483646 w 2"/>
              <a:gd name="T7" fmla="*/ 2147483646 h 2"/>
              <a:gd name="T8" fmla="*/ 2147483646 w 2"/>
              <a:gd name="T9" fmla="*/ 2147483646 h 2"/>
              <a:gd name="T10" fmla="*/ 2147483646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2147483646 h 2"/>
              <a:gd name="T18" fmla="*/ 0 w 2"/>
              <a:gd name="T19" fmla="*/ 2147483646 h 2"/>
              <a:gd name="T20" fmla="*/ 0 w 2"/>
              <a:gd name="T21" fmla="*/ 2147483646 h 2"/>
              <a:gd name="T22" fmla="*/ 0 w 2"/>
              <a:gd name="T23" fmla="*/ 2147483646 h 2"/>
              <a:gd name="T24" fmla="*/ 2147483646 w 2"/>
              <a:gd name="T25" fmla="*/ 2147483646 h 2"/>
              <a:gd name="T26" fmla="*/ 2147483646 w 2"/>
              <a:gd name="T27" fmla="*/ 2147483646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200"/>
          </a:p>
        </p:txBody>
      </p:sp>
      <p:sp>
        <p:nvSpPr>
          <p:cNvPr id="56" name="Freeform 1290"/>
          <p:cNvSpPr>
            <a:spLocks/>
          </p:cNvSpPr>
          <p:nvPr/>
        </p:nvSpPr>
        <p:spPr bwMode="auto">
          <a:xfrm>
            <a:off x="719139" y="517527"/>
            <a:ext cx="3175" cy="3175"/>
          </a:xfrm>
          <a:custGeom>
            <a:avLst/>
            <a:gdLst>
              <a:gd name="T0" fmla="*/ 0 w 2"/>
              <a:gd name="T1" fmla="*/ 2147483646 h 2"/>
              <a:gd name="T2" fmla="*/ 0 w 2"/>
              <a:gd name="T3" fmla="*/ 2147483646 h 2"/>
              <a:gd name="T4" fmla="*/ 2147483646 w 2"/>
              <a:gd name="T5" fmla="*/ 2147483646 h 2"/>
              <a:gd name="T6" fmla="*/ 2147483646 w 2"/>
              <a:gd name="T7" fmla="*/ 2147483646 h 2"/>
              <a:gd name="T8" fmla="*/ 2147483646 w 2"/>
              <a:gd name="T9" fmla="*/ 2147483646 h 2"/>
              <a:gd name="T10" fmla="*/ 2147483646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2147483646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2147483646 h 2"/>
              <a:gd name="T32" fmla="*/ 0 w 2"/>
              <a:gd name="T33" fmla="*/ 2147483646 h 2"/>
              <a:gd name="T34" fmla="*/ 0 w 2"/>
              <a:gd name="T35" fmla="*/ 2147483646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2147483646 h 2"/>
              <a:gd name="T50" fmla="*/ 2147483646 w 2"/>
              <a:gd name="T51" fmla="*/ 2147483646 h 2"/>
              <a:gd name="T52" fmla="*/ 2147483646 w 2"/>
              <a:gd name="T53" fmla="*/ 0 h 2"/>
              <a:gd name="T54" fmla="*/ 2147483646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2147483646 h 2"/>
              <a:gd name="T62" fmla="*/ 0 w 2"/>
              <a:gd name="T63" fmla="*/ 2147483646 h 2"/>
              <a:gd name="T64" fmla="*/ 2147483646 w 2"/>
              <a:gd name="T65" fmla="*/ 2147483646 h 2"/>
              <a:gd name="T66" fmla="*/ 2147483646 w 2"/>
              <a:gd name="T67" fmla="*/ 2147483646 h 2"/>
              <a:gd name="T68" fmla="*/ 0 w 2"/>
              <a:gd name="T69" fmla="*/ 2147483646 h 2"/>
              <a:gd name="T70" fmla="*/ 0 w 2"/>
              <a:gd name="T71" fmla="*/ 2147483646 h 2"/>
              <a:gd name="T72" fmla="*/ 0 w 2"/>
              <a:gd name="T73" fmla="*/ 2147483646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200"/>
          </a:p>
        </p:txBody>
      </p:sp>
      <p:sp>
        <p:nvSpPr>
          <p:cNvPr id="57" name="Rectangle 1335"/>
          <p:cNvSpPr>
            <a:spLocks noChangeArrowheads="1"/>
          </p:cNvSpPr>
          <p:nvPr/>
        </p:nvSpPr>
        <p:spPr bwMode="auto">
          <a:xfrm>
            <a:off x="468314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975" b="0"/>
          </a:p>
        </p:txBody>
      </p:sp>
      <p:sp>
        <p:nvSpPr>
          <p:cNvPr id="58" name="Rectangle 1336"/>
          <p:cNvSpPr>
            <a:spLocks noChangeArrowheads="1"/>
          </p:cNvSpPr>
          <p:nvPr/>
        </p:nvSpPr>
        <p:spPr bwMode="auto">
          <a:xfrm>
            <a:off x="474664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975" b="0"/>
          </a:p>
        </p:txBody>
      </p:sp>
      <p:sp>
        <p:nvSpPr>
          <p:cNvPr id="59" name="Rectangle 1337"/>
          <p:cNvSpPr>
            <a:spLocks noChangeArrowheads="1"/>
          </p:cNvSpPr>
          <p:nvPr/>
        </p:nvSpPr>
        <p:spPr bwMode="auto">
          <a:xfrm>
            <a:off x="474664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975" b="0"/>
          </a:p>
        </p:txBody>
      </p:sp>
      <p:sp>
        <p:nvSpPr>
          <p:cNvPr id="60" name="Rectangle 1340"/>
          <p:cNvSpPr>
            <a:spLocks noChangeArrowheads="1"/>
          </p:cNvSpPr>
          <p:nvPr/>
        </p:nvSpPr>
        <p:spPr bwMode="auto">
          <a:xfrm>
            <a:off x="468314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975" b="0"/>
          </a:p>
        </p:txBody>
      </p:sp>
      <p:sp>
        <p:nvSpPr>
          <p:cNvPr id="61" name="Rectangle 1341"/>
          <p:cNvSpPr>
            <a:spLocks noChangeArrowheads="1"/>
          </p:cNvSpPr>
          <p:nvPr/>
        </p:nvSpPr>
        <p:spPr bwMode="auto">
          <a:xfrm>
            <a:off x="468314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975" b="0"/>
          </a:p>
        </p:txBody>
      </p:sp>
      <p:sp>
        <p:nvSpPr>
          <p:cNvPr id="62" name="Rectangle 1342"/>
          <p:cNvSpPr>
            <a:spLocks noChangeArrowheads="1"/>
          </p:cNvSpPr>
          <p:nvPr/>
        </p:nvSpPr>
        <p:spPr bwMode="auto">
          <a:xfrm>
            <a:off x="468314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975" b="0"/>
          </a:p>
        </p:txBody>
      </p:sp>
      <p:sp>
        <p:nvSpPr>
          <p:cNvPr id="63" name="Rectangle 1343"/>
          <p:cNvSpPr>
            <a:spLocks noChangeArrowheads="1"/>
          </p:cNvSpPr>
          <p:nvPr/>
        </p:nvSpPr>
        <p:spPr bwMode="auto">
          <a:xfrm>
            <a:off x="468314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975" b="0"/>
          </a:p>
        </p:txBody>
      </p:sp>
      <p:sp>
        <p:nvSpPr>
          <p:cNvPr id="64" name="Rectangle 1344"/>
          <p:cNvSpPr>
            <a:spLocks noChangeArrowheads="1"/>
          </p:cNvSpPr>
          <p:nvPr/>
        </p:nvSpPr>
        <p:spPr bwMode="auto">
          <a:xfrm>
            <a:off x="465139" y="485777"/>
            <a:ext cx="1587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975" b="0"/>
          </a:p>
        </p:txBody>
      </p:sp>
      <p:sp>
        <p:nvSpPr>
          <p:cNvPr id="65" name="Rectangle 64"/>
          <p:cNvSpPr>
            <a:spLocks noChangeArrowheads="1"/>
          </p:cNvSpPr>
          <p:nvPr/>
        </p:nvSpPr>
        <p:spPr bwMode="auto">
          <a:xfrm>
            <a:off x="0" y="4311652"/>
            <a:ext cx="9144000" cy="176213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975" b="0">
              <a:solidFill>
                <a:schemeClr val="bg1"/>
              </a:solidFill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1512624" y="1189791"/>
            <a:ext cx="6971806" cy="1822161"/>
          </a:xfrm>
          <a:prstGeom prst="rect">
            <a:avLst/>
          </a:prstGeo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2700" b="1" baseline="0">
                <a:solidFill>
                  <a:srgbClr val="021F43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1525173" y="3000005"/>
            <a:ext cx="6959257" cy="87588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 b="0" i="0" cap="all" baseline="0">
                <a:solidFill>
                  <a:srgbClr val="021F43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6" name="Text Placeholder 331"/>
          <p:cNvSpPr>
            <a:spLocks noGrp="1"/>
          </p:cNvSpPr>
          <p:nvPr>
            <p:ph type="body" sz="quarter" idx="14"/>
          </p:nvPr>
        </p:nvSpPr>
        <p:spPr>
          <a:xfrm>
            <a:off x="5944825" y="4663925"/>
            <a:ext cx="2821170" cy="1428714"/>
          </a:xfrm>
          <a:prstGeom prst="rect">
            <a:avLst/>
          </a:prstGeom>
        </p:spPr>
        <p:txBody>
          <a:bodyPr anchor="b"/>
          <a:lstStyle>
            <a:lvl1pPr algn="r">
              <a:lnSpc>
                <a:spcPct val="100000"/>
              </a:lnSpc>
              <a:defRPr sz="1050" b="0" i="0" baseline="0">
                <a:solidFill>
                  <a:schemeClr val="tx1"/>
                </a:solidFill>
                <a:latin typeface="+mn-lt"/>
                <a:cs typeface="Arial"/>
              </a:defRPr>
            </a:lvl1pPr>
            <a:lvl2pPr algn="r">
              <a:defRPr sz="1050" b="0" i="0">
                <a:latin typeface="+mn-l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9" name="Rectangle 1028"/>
          <p:cNvSpPr>
            <a:spLocks noGrp="1" noChangeArrowheads="1"/>
          </p:cNvSpPr>
          <p:nvPr>
            <p:ph type="dt" sz="half" idx="20"/>
          </p:nvPr>
        </p:nvSpPr>
        <p:spPr>
          <a:xfrm>
            <a:off x="5945188" y="6107115"/>
            <a:ext cx="2811462" cy="306387"/>
          </a:xfrm>
          <a:prstGeom prst="rect">
            <a:avLst/>
          </a:prstGeom>
        </p:spPr>
        <p:txBody>
          <a:bodyPr rIns="0" anchor="ctr"/>
          <a:lstStyle>
            <a:lvl1pPr algn="r">
              <a:defRPr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en-US"/>
          </a:p>
        </p:txBody>
      </p:sp>
      <p:pic>
        <p:nvPicPr>
          <p:cNvPr id="68" name="Picture 67">
            <a:extLst>
              <a:ext uri="{FF2B5EF4-FFF2-40B4-BE49-F238E27FC236}">
                <a16:creationId xmlns:a16="http://schemas.microsoft.com/office/drawing/2014/main" id="{EFDC824E-127A-6E4A-B12A-2A246D58271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7049" y="5957634"/>
            <a:ext cx="2309711" cy="6035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4049505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 flipV="1">
            <a:off x="0" y="972503"/>
            <a:ext cx="9144000" cy="0"/>
          </a:xfrm>
          <a:prstGeom prst="line">
            <a:avLst/>
          </a:prstGeom>
          <a:ln w="7620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257175" y="141966"/>
            <a:ext cx="8469630" cy="607378"/>
          </a:xfrm>
          <a:prstGeom prst="rect">
            <a:avLst/>
          </a:prstGeom>
        </p:spPr>
        <p:txBody>
          <a:bodyPr/>
          <a:lstStyle>
            <a:lvl1pPr>
              <a:defRPr sz="1650" cap="none"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0" name="Picture 11">
            <a:extLst>
              <a:ext uri="{FF2B5EF4-FFF2-40B4-BE49-F238E27FC236}">
                <a16:creationId xmlns:a16="http://schemas.microsoft.com/office/drawing/2014/main" id="{F784F392-C9AE-B24D-B6C2-E2CB8918DED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77101" y="6454458"/>
            <a:ext cx="1224847" cy="3200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7D6B0715-6449-B744-8F7C-C5C0FB378C8C}"/>
              </a:ext>
            </a:extLst>
          </p:cNvPr>
          <p:cNvSpPr txBox="1"/>
          <p:nvPr userDrawn="1"/>
        </p:nvSpPr>
        <p:spPr>
          <a:xfrm>
            <a:off x="1" y="6436766"/>
            <a:ext cx="9143999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D0A3F3C3-3C93-44D3-BBEE-5DD8C9151D9F}" type="slidenum">
              <a:rPr lang="en-US" sz="825" smtClean="0">
                <a:latin typeface="+mn-lt"/>
              </a:rPr>
              <a:t>‹#›</a:t>
            </a:fld>
            <a:endParaRPr lang="en-US" sz="825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4001619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78369A-BD7C-DC4E-9B04-AF6F68574698}" type="datetimeFigureOut">
              <a:rPr lang="en-US" smtClean="0"/>
              <a:t>5/1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7F0756-85F7-4245-8B66-1209B9A6CE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797485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78369A-BD7C-DC4E-9B04-AF6F68574698}" type="datetimeFigureOut">
              <a:rPr lang="en-US" smtClean="0"/>
              <a:t>5/1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7F0756-85F7-4245-8B66-1209B9A6CE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641096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78369A-BD7C-DC4E-9B04-AF6F68574698}" type="datetimeFigureOut">
              <a:rPr lang="en-US" smtClean="0"/>
              <a:t>5/1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7F0756-85F7-4245-8B66-1209B9A6CE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297310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78369A-BD7C-DC4E-9B04-AF6F68574698}" type="datetimeFigureOut">
              <a:rPr lang="en-US" smtClean="0"/>
              <a:t>5/16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7F0756-85F7-4245-8B66-1209B9A6CE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6552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lowchart: Merge 5">
            <a:extLst>
              <a:ext uri="{FF2B5EF4-FFF2-40B4-BE49-F238E27FC236}">
                <a16:creationId xmlns:a16="http://schemas.microsoft.com/office/drawing/2014/main" id="{50809C12-B54F-40B7-9E49-04CDE88DC76E}"/>
              </a:ext>
            </a:extLst>
          </p:cNvPr>
          <p:cNvSpPr/>
          <p:nvPr userDrawn="1"/>
        </p:nvSpPr>
        <p:spPr>
          <a:xfrm rot="5400000">
            <a:off x="1399349" y="443484"/>
            <a:ext cx="365125" cy="365125"/>
          </a:xfrm>
          <a:prstGeom prst="flowChartMerg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1912" y="-9144"/>
            <a:ext cx="7562088" cy="905256"/>
          </a:xfrm>
          <a:prstGeom prst="rect">
            <a:avLst/>
          </a:prstGeom>
          <a:solidFill>
            <a:schemeClr val="accent1"/>
          </a:solidFill>
        </p:spPr>
        <p:txBody>
          <a:bodyPr>
            <a:normAutofit/>
          </a:bodyPr>
          <a:lstStyle>
            <a:lvl1pPr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D0C6CEF-3F30-5644-AEEC-4228C0B921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74627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78369A-BD7C-DC4E-9B04-AF6F68574698}" type="datetimeFigureOut">
              <a:rPr lang="en-US" smtClean="0"/>
              <a:t>5/16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7F0756-85F7-4245-8B66-1209B9A6CE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326987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78369A-BD7C-DC4E-9B04-AF6F68574698}" type="datetimeFigureOut">
              <a:rPr lang="en-US" smtClean="0"/>
              <a:t>5/16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7F0756-85F7-4245-8B66-1209B9A6CE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78017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78369A-BD7C-DC4E-9B04-AF6F68574698}" type="datetimeFigureOut">
              <a:rPr lang="en-US" smtClean="0"/>
              <a:t>5/16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7F0756-85F7-4245-8B66-1209B9A6CE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764747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78369A-BD7C-DC4E-9B04-AF6F68574698}" type="datetimeFigureOut">
              <a:rPr lang="en-US" smtClean="0"/>
              <a:t>5/16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7F0756-85F7-4245-8B66-1209B9A6CE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493108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78369A-BD7C-DC4E-9B04-AF6F68574698}" type="datetimeFigureOut">
              <a:rPr lang="en-US" smtClean="0"/>
              <a:t>5/16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7F0756-85F7-4245-8B66-1209B9A6CE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9769122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78369A-BD7C-DC4E-9B04-AF6F68574698}" type="datetimeFigureOut">
              <a:rPr lang="en-US" smtClean="0"/>
              <a:t>5/1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7F0756-85F7-4245-8B66-1209B9A6CE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644939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78369A-BD7C-DC4E-9B04-AF6F68574698}" type="datetimeFigureOut">
              <a:rPr lang="en-US" smtClean="0"/>
              <a:t>5/1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7F0756-85F7-4245-8B66-1209B9A6CE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7777421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5570450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D0C6CEF-3F30-5644-AEEC-4228C0B921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14354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085158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8.xml"/><Relationship Id="rId16" Type="http://schemas.openxmlformats.org/officeDocument/2006/relationships/theme" Target="../theme/theme3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5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slideLayout" Target="../slideLayouts/slideLayout54.xml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3.xml"/><Relationship Id="rId17" Type="http://schemas.openxmlformats.org/officeDocument/2006/relationships/image" Target="../media/image3.jpeg"/><Relationship Id="rId2" Type="http://schemas.openxmlformats.org/officeDocument/2006/relationships/slideLayout" Target="../slideLayouts/slideLayout43.xml"/><Relationship Id="rId16" Type="http://schemas.openxmlformats.org/officeDocument/2006/relationships/image" Target="../media/image2.svg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5" Type="http://schemas.openxmlformats.org/officeDocument/2006/relationships/slideLayout" Target="../slideLayouts/slideLayout46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51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.xml"/><Relationship Id="rId3" Type="http://schemas.openxmlformats.org/officeDocument/2006/relationships/slideLayout" Target="../slideLayouts/slideLayout57.xml"/><Relationship Id="rId7" Type="http://schemas.openxmlformats.org/officeDocument/2006/relationships/slideLayout" Target="../slideLayouts/slideLayout61.xml"/><Relationship Id="rId2" Type="http://schemas.openxmlformats.org/officeDocument/2006/relationships/slideLayout" Target="../slideLayouts/slideLayout56.x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5" Type="http://schemas.openxmlformats.org/officeDocument/2006/relationships/slideLayout" Target="../slideLayouts/slideLayout59.xml"/><Relationship Id="rId4" Type="http://schemas.openxmlformats.org/officeDocument/2006/relationships/slideLayout" Target="../slideLayouts/slideLayout58.xml"/><Relationship Id="rId9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5.xml"/><Relationship Id="rId7" Type="http://schemas.openxmlformats.org/officeDocument/2006/relationships/image" Target="../media/image4.emf"/><Relationship Id="rId2" Type="http://schemas.openxmlformats.org/officeDocument/2006/relationships/slideLayout" Target="../slideLayouts/slideLayout64.xml"/><Relationship Id="rId1" Type="http://schemas.openxmlformats.org/officeDocument/2006/relationships/slideLayout" Target="../slideLayouts/slideLayout63.xml"/><Relationship Id="rId6" Type="http://schemas.openxmlformats.org/officeDocument/2006/relationships/oleObject" Target="../embeddings/oleObject1.bin"/><Relationship Id="rId5" Type="http://schemas.openxmlformats.org/officeDocument/2006/relationships/tags" Target="../tags/tag1.xml"/><Relationship Id="rId4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3.xml"/><Relationship Id="rId13" Type="http://schemas.openxmlformats.org/officeDocument/2006/relationships/theme" Target="../theme/theme7.xml"/><Relationship Id="rId3" Type="http://schemas.openxmlformats.org/officeDocument/2006/relationships/slideLayout" Target="../slideLayouts/slideLayout68.xml"/><Relationship Id="rId7" Type="http://schemas.openxmlformats.org/officeDocument/2006/relationships/slideLayout" Target="../slideLayouts/slideLayout72.xml"/><Relationship Id="rId12" Type="http://schemas.openxmlformats.org/officeDocument/2006/relationships/slideLayout" Target="../slideLayouts/slideLayout77.xml"/><Relationship Id="rId2" Type="http://schemas.openxmlformats.org/officeDocument/2006/relationships/slideLayout" Target="../slideLayouts/slideLayout67.xml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11" Type="http://schemas.openxmlformats.org/officeDocument/2006/relationships/slideLayout" Target="../slideLayouts/slideLayout76.xml"/><Relationship Id="rId5" Type="http://schemas.openxmlformats.org/officeDocument/2006/relationships/slideLayout" Target="../slideLayouts/slideLayout70.xml"/><Relationship Id="rId10" Type="http://schemas.openxmlformats.org/officeDocument/2006/relationships/slideLayout" Target="../slideLayouts/slideLayout75.xml"/><Relationship Id="rId4" Type="http://schemas.openxmlformats.org/officeDocument/2006/relationships/slideLayout" Target="../slideLayouts/slideLayout69.xml"/><Relationship Id="rId9" Type="http://schemas.openxmlformats.org/officeDocument/2006/relationships/slideLayout" Target="../slideLayouts/slideLayout7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2760" y="960120"/>
            <a:ext cx="8779216" cy="56692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98335" y="5169"/>
            <a:ext cx="7853641" cy="836441"/>
          </a:xfrm>
          <a:prstGeom prst="rect">
            <a:avLst/>
          </a:prstGeom>
          <a:noFill/>
        </p:spPr>
        <p:txBody>
          <a:bodyPr vert="horz" lIns="228600" tIns="45720" rIns="91440" bIns="45720" rtlCol="0" anchor="b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0E9438D-1A43-41D0-2834-ABFD516E133F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57340"/>
            <a:ext cx="6127750" cy="13716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9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. This information is accessible to ADB Management and staff. It may be shared outside ADB with appropriate permission.</a:t>
            </a:r>
          </a:p>
        </p:txBody>
      </p:sp>
    </p:spTree>
    <p:extLst>
      <p:ext uri="{BB962C8B-B14F-4D97-AF65-F5344CB8AC3E}">
        <p14:creationId xmlns:p14="http://schemas.microsoft.com/office/powerpoint/2010/main" val="33334683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2760" y="960120"/>
            <a:ext cx="8779216" cy="56692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4705" y="5169"/>
            <a:ext cx="7853641" cy="836441"/>
          </a:xfrm>
          <a:prstGeom prst="rect">
            <a:avLst/>
          </a:prstGeom>
          <a:noFill/>
        </p:spPr>
        <p:txBody>
          <a:bodyPr vert="horz" lIns="228600" tIns="45720" rIns="91440" bIns="45720" rtlCol="0" anchor="b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5B3EE21-14AC-DA20-E148-0802DD44F505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57340"/>
            <a:ext cx="6127750" cy="13716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9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. This information is accessible to ADB Management and staff. It may be shared outside ADB with appropriate permission.</a:t>
            </a:r>
          </a:p>
        </p:txBody>
      </p:sp>
    </p:spTree>
    <p:extLst>
      <p:ext uri="{BB962C8B-B14F-4D97-AF65-F5344CB8AC3E}">
        <p14:creationId xmlns:p14="http://schemas.microsoft.com/office/powerpoint/2010/main" val="1045913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  <p:sldLayoutId id="2147483703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2760" y="960120"/>
            <a:ext cx="8779216" cy="56692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4705" y="5169"/>
            <a:ext cx="7853641" cy="836441"/>
          </a:xfrm>
          <a:prstGeom prst="rect">
            <a:avLst/>
          </a:prstGeom>
          <a:noFill/>
        </p:spPr>
        <p:txBody>
          <a:bodyPr vert="horz" lIns="228600" tIns="45720" rIns="91440" bIns="45720" rtlCol="0" anchor="b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1BA669E-A3D9-541D-8C6D-93818E1E9A9F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57340"/>
            <a:ext cx="6127750" cy="13716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9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. This information is accessible to ADB Management and staff. It may be shared outside ADB with appropriate permission.</a:t>
            </a:r>
          </a:p>
        </p:txBody>
      </p:sp>
    </p:spTree>
    <p:extLst>
      <p:ext uri="{BB962C8B-B14F-4D97-AF65-F5344CB8AC3E}">
        <p14:creationId xmlns:p14="http://schemas.microsoft.com/office/powerpoint/2010/main" val="14369214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  <p:sldLayoutId id="2147483711" r:id="rId5"/>
    <p:sldLayoutId id="2147483712" r:id="rId6"/>
    <p:sldLayoutId id="2147483713" r:id="rId7"/>
    <p:sldLayoutId id="2147483714" r:id="rId8"/>
    <p:sldLayoutId id="2147483715" r:id="rId9"/>
    <p:sldLayoutId id="2147483716" r:id="rId10"/>
    <p:sldLayoutId id="2147483717" r:id="rId11"/>
    <p:sldLayoutId id="2147483718" r:id="rId12"/>
    <p:sldLayoutId id="2147483719" r:id="rId13"/>
    <p:sldLayoutId id="2147483720" r:id="rId14"/>
    <p:sldLayoutId id="2147483721" r:id="rId1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2760" y="960120"/>
            <a:ext cx="8779216" cy="56692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4705" y="5169"/>
            <a:ext cx="7853641" cy="836441"/>
          </a:xfrm>
          <a:prstGeom prst="rect">
            <a:avLst/>
          </a:prstGeom>
          <a:noFill/>
        </p:spPr>
        <p:txBody>
          <a:bodyPr vert="horz" lIns="228600" tIns="45720" rIns="91440" bIns="45720" rtlCol="0" anchor="b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6F84F924-DD89-42E7-BFB1-AFEFEB99CD91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8034760" y="123679"/>
            <a:ext cx="880208" cy="836441"/>
          </a:xfrm>
          <a:prstGeom prst="rect">
            <a:avLst/>
          </a:prstGeom>
        </p:spPr>
      </p:pic>
      <p:pic>
        <p:nvPicPr>
          <p:cNvPr id="6" name="Picture 12">
            <a:extLst>
              <a:ext uri="{FF2B5EF4-FFF2-40B4-BE49-F238E27FC236}">
                <a16:creationId xmlns:a16="http://schemas.microsoft.com/office/drawing/2014/main" id="{10FA8AC0-7DEA-425D-ADE3-262E83B6A7A3}"/>
              </a:ext>
            </a:extLst>
          </p:cNvPr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8248073" y="5944861"/>
            <a:ext cx="666895" cy="66689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A49A6837-BB5D-0A3A-0AB9-6511C1579EE1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57340"/>
            <a:ext cx="6127750" cy="13716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9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. This information is accessible to ADB Management and staff. It may be shared outside ADB with appropriate permission.</a:t>
            </a:r>
          </a:p>
        </p:txBody>
      </p:sp>
    </p:spTree>
    <p:extLst>
      <p:ext uri="{BB962C8B-B14F-4D97-AF65-F5344CB8AC3E}">
        <p14:creationId xmlns:p14="http://schemas.microsoft.com/office/powerpoint/2010/main" val="8587945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7" r:id="rId1"/>
    <p:sldLayoutId id="2147483738" r:id="rId2"/>
    <p:sldLayoutId id="2147483739" r:id="rId3"/>
    <p:sldLayoutId id="2147483740" r:id="rId4"/>
    <p:sldLayoutId id="2147483741" r:id="rId5"/>
    <p:sldLayoutId id="2147483742" r:id="rId6"/>
    <p:sldLayoutId id="2147483743" r:id="rId7"/>
    <p:sldLayoutId id="2147483744" r:id="rId8"/>
    <p:sldLayoutId id="2147483745" r:id="rId9"/>
    <p:sldLayoutId id="2147483746" r:id="rId10"/>
    <p:sldLayoutId id="2147483747" r:id="rId11"/>
    <p:sldLayoutId id="2147483748" r:id="rId12"/>
    <p:sldLayoutId id="2147483749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8F31B78C-89B3-F791-36BE-A06A164C2894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57340"/>
            <a:ext cx="6127750" cy="13716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9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. This information is accessible to ADB Management and staff. It may be shared outside ADB with appropriate permission.</a:t>
            </a:r>
          </a:p>
        </p:txBody>
      </p:sp>
    </p:spTree>
    <p:extLst>
      <p:ext uri="{BB962C8B-B14F-4D97-AF65-F5344CB8AC3E}">
        <p14:creationId xmlns:p14="http://schemas.microsoft.com/office/powerpoint/2010/main" val="28627185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6" r:id="rId1"/>
    <p:sldLayoutId id="2147483767" r:id="rId2"/>
    <p:sldLayoutId id="2147483768" r:id="rId3"/>
    <p:sldLayoutId id="2147483769" r:id="rId4"/>
    <p:sldLayoutId id="2147483770" r:id="rId5"/>
    <p:sldLayoutId id="2147483771" r:id="rId6"/>
    <p:sldLayoutId id="2147483772" r:id="rId7"/>
    <p:sldLayoutId id="2147483774" r:id="rId8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447139353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A8CE2B07-24A2-3823-4E4D-E45B30DEBDFA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57340"/>
            <a:ext cx="6127750" cy="13716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9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. This information is accessible to ADB Management and staff. It may be shared outside ADB with appropriate permission.</a:t>
            </a:r>
          </a:p>
        </p:txBody>
      </p:sp>
    </p:spTree>
    <p:extLst>
      <p:ext uri="{BB962C8B-B14F-4D97-AF65-F5344CB8AC3E}">
        <p14:creationId xmlns:p14="http://schemas.microsoft.com/office/powerpoint/2010/main" val="9940150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7" r:id="rId1"/>
    <p:sldLayoutId id="2147483828" r:id="rId2"/>
    <p:sldLayoutId id="2147483830" r:id="rId3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950" cap="all">
          <a:solidFill>
            <a:schemeClr val="tx1"/>
          </a:solidFill>
          <a:latin typeface="+mj-lt"/>
          <a:ea typeface="MS PGothic" pitchFamily="34" charset="-128"/>
          <a:cs typeface="ＭＳ Ｐゴシック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950">
          <a:solidFill>
            <a:schemeClr val="tx1"/>
          </a:solidFill>
          <a:latin typeface="Arial Bold" charset="0"/>
          <a:ea typeface="MS PGothic" pitchFamily="34" charset="-128"/>
          <a:cs typeface="ＭＳ Ｐゴシック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950">
          <a:solidFill>
            <a:schemeClr val="tx1"/>
          </a:solidFill>
          <a:latin typeface="Arial Bold" charset="0"/>
          <a:ea typeface="MS PGothic" pitchFamily="34" charset="-128"/>
          <a:cs typeface="ＭＳ Ｐゴシック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950">
          <a:solidFill>
            <a:schemeClr val="tx1"/>
          </a:solidFill>
          <a:latin typeface="Arial Bold" charset="0"/>
          <a:ea typeface="MS PGothic" pitchFamily="34" charset="-128"/>
          <a:cs typeface="ＭＳ Ｐゴシック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950">
          <a:solidFill>
            <a:schemeClr val="tx1"/>
          </a:solidFill>
          <a:latin typeface="Arial Bold" charset="0"/>
          <a:ea typeface="MS PGothic" pitchFamily="34" charset="-128"/>
          <a:cs typeface="ＭＳ Ｐゴシック" charset="0"/>
        </a:defRPr>
      </a:lvl5pPr>
      <a:lvl6pPr marL="342900" algn="ctr" rtl="0" eaLnBrk="1" fontAlgn="base" hangingPunct="1">
        <a:spcBef>
          <a:spcPct val="0"/>
        </a:spcBef>
        <a:spcAft>
          <a:spcPct val="0"/>
        </a:spcAft>
        <a:defRPr sz="1950" b="1">
          <a:solidFill>
            <a:srgbClr val="014C6D"/>
          </a:solidFill>
          <a:latin typeface="Trebuchet MS" pitchFamily="34" charset="0"/>
        </a:defRPr>
      </a:lvl6pPr>
      <a:lvl7pPr marL="685800" algn="ctr" rtl="0" eaLnBrk="1" fontAlgn="base" hangingPunct="1">
        <a:spcBef>
          <a:spcPct val="0"/>
        </a:spcBef>
        <a:spcAft>
          <a:spcPct val="0"/>
        </a:spcAft>
        <a:defRPr sz="1950" b="1">
          <a:solidFill>
            <a:srgbClr val="014C6D"/>
          </a:solidFill>
          <a:latin typeface="Trebuchet MS" pitchFamily="34" charset="0"/>
        </a:defRPr>
      </a:lvl7pPr>
      <a:lvl8pPr marL="1028700" algn="ctr" rtl="0" eaLnBrk="1" fontAlgn="base" hangingPunct="1">
        <a:spcBef>
          <a:spcPct val="0"/>
        </a:spcBef>
        <a:spcAft>
          <a:spcPct val="0"/>
        </a:spcAft>
        <a:defRPr sz="1950" b="1">
          <a:solidFill>
            <a:srgbClr val="014C6D"/>
          </a:solidFill>
          <a:latin typeface="Trebuchet MS" pitchFamily="34" charset="0"/>
        </a:defRPr>
      </a:lvl8pPr>
      <a:lvl9pPr marL="1371600" algn="ctr" rtl="0" eaLnBrk="1" fontAlgn="base" hangingPunct="1">
        <a:spcBef>
          <a:spcPct val="0"/>
        </a:spcBef>
        <a:spcAft>
          <a:spcPct val="0"/>
        </a:spcAft>
        <a:defRPr sz="1950" b="1">
          <a:solidFill>
            <a:srgbClr val="014C6D"/>
          </a:solidFill>
          <a:latin typeface="Trebuchet MS" pitchFamily="34" charset="0"/>
        </a:defRPr>
      </a:lvl9pPr>
    </p:titleStyle>
    <p:bodyStyle>
      <a:lvl1pPr marL="257175" indent="-257175" algn="l" rtl="0" eaLnBrk="1" fontAlgn="base" hangingPunct="1">
        <a:lnSpc>
          <a:spcPct val="115000"/>
        </a:lnSpc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  <a:cs typeface="ＭＳ Ｐゴシック" charset="0"/>
        </a:defRPr>
      </a:lvl1pPr>
      <a:lvl2pPr marL="557213" indent="-214313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Font typeface="Wingdings" panose="05000000000000000000" pitchFamily="2" charset="2"/>
        <a:defRPr>
          <a:solidFill>
            <a:schemeClr val="tx1"/>
          </a:solidFill>
          <a:latin typeface="+mn-lt"/>
          <a:ea typeface="MS PGothic" pitchFamily="34" charset="-128"/>
        </a:defRPr>
      </a:lvl2pPr>
      <a:lvl3pPr marL="3572" indent="682229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</a:defRPr>
      </a:lvl3pPr>
      <a:lvl4pPr marL="1200150" indent="-17145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</a:defRPr>
      </a:lvl4pPr>
      <a:lvl5pPr marL="1543050" indent="-17145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</a:defRPr>
      </a:lvl5pPr>
      <a:lvl6pPr marL="1885950" indent="-17145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200">
          <a:solidFill>
            <a:schemeClr val="tx1"/>
          </a:solidFill>
          <a:latin typeface="+mn-lt"/>
        </a:defRPr>
      </a:lvl6pPr>
      <a:lvl7pPr marL="2228850" indent="-17145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200">
          <a:solidFill>
            <a:schemeClr val="tx1"/>
          </a:solidFill>
          <a:latin typeface="+mn-lt"/>
        </a:defRPr>
      </a:lvl7pPr>
      <a:lvl8pPr marL="2571750" indent="-17145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200">
          <a:solidFill>
            <a:schemeClr val="tx1"/>
          </a:solidFill>
          <a:latin typeface="+mn-lt"/>
        </a:defRPr>
      </a:lvl8pPr>
      <a:lvl9pPr marL="2914650" indent="-17145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78369A-BD7C-DC4E-9B04-AF6F68574698}" type="datetimeFigureOut">
              <a:rPr lang="en-US" smtClean="0"/>
              <a:t>5/1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77F0756-85F7-4245-8B66-1209B9A6CEA3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361EEC9-C9F4-3B1C-A95F-CC3C46B69D57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57340"/>
            <a:ext cx="6127750" cy="13716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9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. This information is accessible to ADB Management and staff. It may be shared outside ADB with appropriate permission.</a:t>
            </a:r>
          </a:p>
        </p:txBody>
      </p:sp>
    </p:spTree>
    <p:extLst>
      <p:ext uri="{BB962C8B-B14F-4D97-AF65-F5344CB8AC3E}">
        <p14:creationId xmlns:p14="http://schemas.microsoft.com/office/powerpoint/2010/main" val="760514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7" r:id="rId1"/>
    <p:sldLayoutId id="2147483858" r:id="rId2"/>
    <p:sldLayoutId id="2147483859" r:id="rId3"/>
    <p:sldLayoutId id="2147483860" r:id="rId4"/>
    <p:sldLayoutId id="2147483861" r:id="rId5"/>
    <p:sldLayoutId id="2147483862" r:id="rId6"/>
    <p:sldLayoutId id="2147483863" r:id="rId7"/>
    <p:sldLayoutId id="2147483864" r:id="rId8"/>
    <p:sldLayoutId id="2147483865" r:id="rId9"/>
    <p:sldLayoutId id="2147483866" r:id="rId10"/>
    <p:sldLayoutId id="2147483867" r:id="rId11"/>
    <p:sldLayoutId id="2147483869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7.xml"/><Relationship Id="rId4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7.pn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7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Layout" Target="../slideLayouts/slideLayout77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7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6" name="Rectangle 35">
            <a:extLst>
              <a:ext uri="{FF2B5EF4-FFF2-40B4-BE49-F238E27FC236}">
                <a16:creationId xmlns:a16="http://schemas.microsoft.com/office/drawing/2014/main" id="{D1942232-83D0-49E2-AF9B-1F97E3C1EF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3771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E9E70D72-6E23-4015-A4A6-85C120C191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228" y="0"/>
            <a:ext cx="91437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C28A977F-B603-4D81-B0FC-C8DE048A79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-228" y="-1"/>
            <a:ext cx="2521551" cy="2522848"/>
            <a:chOff x="-305" y="-1"/>
            <a:chExt cx="3832880" cy="2876136"/>
          </a:xfrm>
        </p:grpSpPr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0183CE8C-E039-4B2F-A36E-5FD5CD5DE19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05" y="1"/>
              <a:ext cx="3815424" cy="2653659"/>
            </a:xfrm>
            <a:custGeom>
              <a:avLst/>
              <a:gdLst>
                <a:gd name="connsiteX0" fmla="*/ 3203055 w 3815424"/>
                <a:gd name="connsiteY0" fmla="*/ 0 h 2653659"/>
                <a:gd name="connsiteX1" fmla="*/ 3815424 w 3815424"/>
                <a:gd name="connsiteY1" fmla="*/ 0 h 2653659"/>
                <a:gd name="connsiteX2" fmla="*/ 3801025 w 3815424"/>
                <a:gd name="connsiteY2" fmla="*/ 214243 h 2653659"/>
                <a:gd name="connsiteX3" fmla="*/ 587142 w 3815424"/>
                <a:gd name="connsiteY3" fmla="*/ 2653659 h 2653659"/>
                <a:gd name="connsiteX4" fmla="*/ 53389 w 3815424"/>
                <a:gd name="connsiteY4" fmla="*/ 2605041 h 2653659"/>
                <a:gd name="connsiteX5" fmla="*/ 0 w 3815424"/>
                <a:gd name="connsiteY5" fmla="*/ 2593136 h 2653659"/>
                <a:gd name="connsiteX6" fmla="*/ 0 w 3815424"/>
                <a:gd name="connsiteY6" fmla="*/ 1994836 h 2653659"/>
                <a:gd name="connsiteX7" fmla="*/ 159710 w 3815424"/>
                <a:gd name="connsiteY7" fmla="*/ 2035054 h 2653659"/>
                <a:gd name="connsiteX8" fmla="*/ 587142 w 3815424"/>
                <a:gd name="connsiteY8" fmla="*/ 2075152 h 2653659"/>
                <a:gd name="connsiteX9" fmla="*/ 1549283 w 3815424"/>
                <a:gd name="connsiteY9" fmla="*/ 1900153 h 2653659"/>
                <a:gd name="connsiteX10" fmla="*/ 2406698 w 3815424"/>
                <a:gd name="connsiteY10" fmla="*/ 1418450 h 2653659"/>
                <a:gd name="connsiteX11" fmla="*/ 2996069 w 3815424"/>
                <a:gd name="connsiteY11" fmla="*/ 728678 h 2653659"/>
                <a:gd name="connsiteX12" fmla="*/ 3193967 w 3815424"/>
                <a:gd name="connsiteY12" fmla="*/ 137719 h 2653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815424" h="2653659">
                  <a:moveTo>
                    <a:pt x="3203055" y="0"/>
                  </a:moveTo>
                  <a:lnTo>
                    <a:pt x="3815424" y="0"/>
                  </a:lnTo>
                  <a:lnTo>
                    <a:pt x="3801025" y="214243"/>
                  </a:lnTo>
                  <a:cubicBezTo>
                    <a:pt x="3616317" y="1584467"/>
                    <a:pt x="2091637" y="2653659"/>
                    <a:pt x="587142" y="2653659"/>
                  </a:cubicBezTo>
                  <a:cubicBezTo>
                    <a:pt x="400192" y="2653659"/>
                    <a:pt x="222112" y="2636953"/>
                    <a:pt x="53389" y="2605041"/>
                  </a:cubicBezTo>
                  <a:lnTo>
                    <a:pt x="0" y="2593136"/>
                  </a:lnTo>
                  <a:lnTo>
                    <a:pt x="0" y="1994836"/>
                  </a:lnTo>
                  <a:lnTo>
                    <a:pt x="159710" y="2035054"/>
                  </a:lnTo>
                  <a:cubicBezTo>
                    <a:pt x="295467" y="2061726"/>
                    <a:pt x="438268" y="2075152"/>
                    <a:pt x="587142" y="2075152"/>
                  </a:cubicBezTo>
                  <a:cubicBezTo>
                    <a:pt x="901731" y="2075152"/>
                    <a:pt x="1234490" y="2014697"/>
                    <a:pt x="1549283" y="1900153"/>
                  </a:cubicBezTo>
                  <a:cubicBezTo>
                    <a:pt x="1860709" y="1786959"/>
                    <a:pt x="2157231" y="1620350"/>
                    <a:pt x="2406698" y="1418450"/>
                  </a:cubicBezTo>
                  <a:cubicBezTo>
                    <a:pt x="2655859" y="1216840"/>
                    <a:pt x="2859596" y="978302"/>
                    <a:pt x="2996069" y="728678"/>
                  </a:cubicBezTo>
                  <a:cubicBezTo>
                    <a:pt x="3101178" y="536396"/>
                    <a:pt x="3167417" y="338366"/>
                    <a:pt x="3193967" y="137719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3EB77281-FAB4-40D0-B3F3-264EC4AB202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05" y="-1"/>
              <a:ext cx="3815424" cy="2653660"/>
            </a:xfrm>
            <a:custGeom>
              <a:avLst/>
              <a:gdLst>
                <a:gd name="connsiteX0" fmla="*/ 3305038 w 3815424"/>
                <a:gd name="connsiteY0" fmla="*/ 0 h 2653660"/>
                <a:gd name="connsiteX1" fmla="*/ 3815424 w 3815424"/>
                <a:gd name="connsiteY1" fmla="*/ 0 h 2653660"/>
                <a:gd name="connsiteX2" fmla="*/ 3801025 w 3815424"/>
                <a:gd name="connsiteY2" fmla="*/ 214244 h 2653660"/>
                <a:gd name="connsiteX3" fmla="*/ 587142 w 3815424"/>
                <a:gd name="connsiteY3" fmla="*/ 2653660 h 2653660"/>
                <a:gd name="connsiteX4" fmla="*/ 53389 w 3815424"/>
                <a:gd name="connsiteY4" fmla="*/ 2605042 h 2653660"/>
                <a:gd name="connsiteX5" fmla="*/ 0 w 3815424"/>
                <a:gd name="connsiteY5" fmla="*/ 2593137 h 2653660"/>
                <a:gd name="connsiteX6" fmla="*/ 0 w 3815424"/>
                <a:gd name="connsiteY6" fmla="*/ 2094444 h 2653660"/>
                <a:gd name="connsiteX7" fmla="*/ 137675 w 3815424"/>
                <a:gd name="connsiteY7" fmla="*/ 2129195 h 2653660"/>
                <a:gd name="connsiteX8" fmla="*/ 587142 w 3815424"/>
                <a:gd name="connsiteY8" fmla="*/ 2171571 h 2653660"/>
                <a:gd name="connsiteX9" fmla="*/ 1585826 w 3815424"/>
                <a:gd name="connsiteY9" fmla="*/ 1990112 h 2653660"/>
                <a:gd name="connsiteX10" fmla="*/ 2473046 w 3815424"/>
                <a:gd name="connsiteY10" fmla="*/ 1491633 h 2653660"/>
                <a:gd name="connsiteX11" fmla="*/ 3086710 w 3815424"/>
                <a:gd name="connsiteY11" fmla="*/ 772838 h 2653660"/>
                <a:gd name="connsiteX12" fmla="*/ 3295217 w 3815424"/>
                <a:gd name="connsiteY12" fmla="*/ 149229 h 2653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815424" h="2653660">
                  <a:moveTo>
                    <a:pt x="3305038" y="0"/>
                  </a:moveTo>
                  <a:lnTo>
                    <a:pt x="3815424" y="0"/>
                  </a:lnTo>
                  <a:lnTo>
                    <a:pt x="3801025" y="214244"/>
                  </a:lnTo>
                  <a:cubicBezTo>
                    <a:pt x="3616317" y="1584467"/>
                    <a:pt x="2091637" y="2653660"/>
                    <a:pt x="587142" y="2653660"/>
                  </a:cubicBezTo>
                  <a:cubicBezTo>
                    <a:pt x="400192" y="2653660"/>
                    <a:pt x="222112" y="2636954"/>
                    <a:pt x="53389" y="2605042"/>
                  </a:cubicBezTo>
                  <a:lnTo>
                    <a:pt x="0" y="2593137"/>
                  </a:lnTo>
                  <a:lnTo>
                    <a:pt x="0" y="2094444"/>
                  </a:lnTo>
                  <a:lnTo>
                    <a:pt x="137675" y="2129195"/>
                  </a:lnTo>
                  <a:cubicBezTo>
                    <a:pt x="280616" y="2157374"/>
                    <a:pt x="430766" y="2171571"/>
                    <a:pt x="587142" y="2171571"/>
                  </a:cubicBezTo>
                  <a:cubicBezTo>
                    <a:pt x="918879" y="2171571"/>
                    <a:pt x="1254904" y="2110634"/>
                    <a:pt x="1585826" y="1990112"/>
                  </a:cubicBezTo>
                  <a:cubicBezTo>
                    <a:pt x="1908071" y="1873061"/>
                    <a:pt x="2214800" y="1700666"/>
                    <a:pt x="2473046" y="1491633"/>
                  </a:cubicBezTo>
                  <a:cubicBezTo>
                    <a:pt x="2735782" y="1279031"/>
                    <a:pt x="2942276" y="1037118"/>
                    <a:pt x="3086710" y="772838"/>
                  </a:cubicBezTo>
                  <a:cubicBezTo>
                    <a:pt x="3197408" y="570216"/>
                    <a:pt x="3267226" y="361248"/>
                    <a:pt x="3295217" y="149229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815E59F3-75FC-494F-8737-5F00A4964FE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1"/>
              <a:ext cx="3815986" cy="2675935"/>
            </a:xfrm>
            <a:custGeom>
              <a:avLst/>
              <a:gdLst>
                <a:gd name="connsiteX0" fmla="*/ 3648768 w 3815986"/>
                <a:gd name="connsiteY0" fmla="*/ 0 h 2675935"/>
                <a:gd name="connsiteX1" fmla="*/ 3815986 w 3815986"/>
                <a:gd name="connsiteY1" fmla="*/ 0 h 2675935"/>
                <a:gd name="connsiteX2" fmla="*/ 3804695 w 3815986"/>
                <a:gd name="connsiteY2" fmla="*/ 200084 h 2675935"/>
                <a:gd name="connsiteX3" fmla="*/ 3762590 w 3815986"/>
                <a:gd name="connsiteY3" fmla="*/ 455543 h 2675935"/>
                <a:gd name="connsiteX4" fmla="*/ 3592332 w 3815986"/>
                <a:gd name="connsiteY4" fmla="*/ 947274 h 2675935"/>
                <a:gd name="connsiteX5" fmla="*/ 2953967 w 3815986"/>
                <a:gd name="connsiteY5" fmla="*/ 1782349 h 2675935"/>
                <a:gd name="connsiteX6" fmla="*/ 2530669 w 3815986"/>
                <a:gd name="connsiteY6" fmla="*/ 2109494 h 2675935"/>
                <a:gd name="connsiteX7" fmla="*/ 2057561 w 3815986"/>
                <a:gd name="connsiteY7" fmla="*/ 2369245 h 2675935"/>
                <a:gd name="connsiteX8" fmla="*/ 1007330 w 3815986"/>
                <a:gd name="connsiteY8" fmla="*/ 2655701 h 2675935"/>
                <a:gd name="connsiteX9" fmla="*/ 732765 w 3815986"/>
                <a:gd name="connsiteY9" fmla="*/ 2674696 h 2675935"/>
                <a:gd name="connsiteX10" fmla="*/ 457666 w 3815986"/>
                <a:gd name="connsiteY10" fmla="*/ 2670839 h 2675935"/>
                <a:gd name="connsiteX11" fmla="*/ 183574 w 3815986"/>
                <a:gd name="connsiteY11" fmla="*/ 2643312 h 2675935"/>
                <a:gd name="connsiteX12" fmla="*/ 0 w 3815986"/>
                <a:gd name="connsiteY12" fmla="*/ 2607798 h 2675935"/>
                <a:gd name="connsiteX13" fmla="*/ 0 w 3815986"/>
                <a:gd name="connsiteY13" fmla="*/ 2356652 h 2675935"/>
                <a:gd name="connsiteX14" fmla="*/ 222195 w 3815986"/>
                <a:gd name="connsiteY14" fmla="*/ 2396940 h 2675935"/>
                <a:gd name="connsiteX15" fmla="*/ 472364 w 3815986"/>
                <a:gd name="connsiteY15" fmla="*/ 2419092 h 2675935"/>
                <a:gd name="connsiteX16" fmla="*/ 974972 w 3815986"/>
                <a:gd name="connsiteY16" fmla="*/ 2402122 h 2675935"/>
                <a:gd name="connsiteX17" fmla="*/ 1468292 w 3815986"/>
                <a:gd name="connsiteY17" fmla="*/ 2304162 h 2675935"/>
                <a:gd name="connsiteX18" fmla="*/ 1940176 w 3815986"/>
                <a:gd name="connsiteY18" fmla="*/ 2133695 h 2675935"/>
                <a:gd name="connsiteX19" fmla="*/ 2783403 w 3815986"/>
                <a:gd name="connsiteY19" fmla="*/ 1609954 h 2675935"/>
                <a:gd name="connsiteX20" fmla="*/ 3128104 w 3815986"/>
                <a:gd name="connsiteY20" fmla="*/ 1260439 h 2675935"/>
                <a:gd name="connsiteX21" fmla="*/ 3400639 w 3815986"/>
                <a:gd name="connsiteY21" fmla="*/ 859052 h 2675935"/>
                <a:gd name="connsiteX22" fmla="*/ 3585595 w 3815986"/>
                <a:gd name="connsiteY22" fmla="*/ 415336 h 2675935"/>
                <a:gd name="connsiteX23" fmla="*/ 3635918 w 3815986"/>
                <a:gd name="connsiteY23" fmla="*/ 181137 h 26759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815986" h="2675935">
                  <a:moveTo>
                    <a:pt x="3648768" y="0"/>
                  </a:moveTo>
                  <a:lnTo>
                    <a:pt x="3815986" y="0"/>
                  </a:lnTo>
                  <a:lnTo>
                    <a:pt x="3804695" y="200084"/>
                  </a:lnTo>
                  <a:cubicBezTo>
                    <a:pt x="3795228" y="285751"/>
                    <a:pt x="3781167" y="371032"/>
                    <a:pt x="3762590" y="455543"/>
                  </a:cubicBezTo>
                  <a:cubicBezTo>
                    <a:pt x="3725537" y="624467"/>
                    <a:pt x="3668784" y="790112"/>
                    <a:pt x="3592332" y="947274"/>
                  </a:cubicBezTo>
                  <a:cubicBezTo>
                    <a:pt x="3438712" y="1261596"/>
                    <a:pt x="3216091" y="1542847"/>
                    <a:pt x="2953967" y="1782349"/>
                  </a:cubicBezTo>
                  <a:cubicBezTo>
                    <a:pt x="2822599" y="1902099"/>
                    <a:pt x="2680615" y="2011341"/>
                    <a:pt x="2530669" y="2109494"/>
                  </a:cubicBezTo>
                  <a:cubicBezTo>
                    <a:pt x="2380520" y="2207551"/>
                    <a:pt x="2222510" y="2294906"/>
                    <a:pt x="2057561" y="2369245"/>
                  </a:cubicBezTo>
                  <a:cubicBezTo>
                    <a:pt x="1727252" y="2516859"/>
                    <a:pt x="1371629" y="2614434"/>
                    <a:pt x="1007330" y="2655701"/>
                  </a:cubicBezTo>
                  <a:cubicBezTo>
                    <a:pt x="916281" y="2665873"/>
                    <a:pt x="824568" y="2672188"/>
                    <a:pt x="732765" y="2674696"/>
                  </a:cubicBezTo>
                  <a:cubicBezTo>
                    <a:pt x="640963" y="2677203"/>
                    <a:pt x="549072" y="2675901"/>
                    <a:pt x="457666" y="2670839"/>
                  </a:cubicBezTo>
                  <a:cubicBezTo>
                    <a:pt x="366106" y="2665584"/>
                    <a:pt x="274572" y="2656521"/>
                    <a:pt x="183574" y="2643312"/>
                  </a:cubicBezTo>
                  <a:lnTo>
                    <a:pt x="0" y="2607798"/>
                  </a:lnTo>
                  <a:lnTo>
                    <a:pt x="0" y="2356652"/>
                  </a:lnTo>
                  <a:lnTo>
                    <a:pt x="222195" y="2396940"/>
                  </a:lnTo>
                  <a:cubicBezTo>
                    <a:pt x="304990" y="2407980"/>
                    <a:pt x="388511" y="2415283"/>
                    <a:pt x="472364" y="2419092"/>
                  </a:cubicBezTo>
                  <a:cubicBezTo>
                    <a:pt x="640376" y="2427095"/>
                    <a:pt x="808184" y="2421791"/>
                    <a:pt x="974972" y="2402122"/>
                  </a:cubicBezTo>
                  <a:cubicBezTo>
                    <a:pt x="1141658" y="2382358"/>
                    <a:pt x="1306812" y="2349286"/>
                    <a:pt x="1468292" y="2304162"/>
                  </a:cubicBezTo>
                  <a:cubicBezTo>
                    <a:pt x="1629874" y="2259231"/>
                    <a:pt x="1787475" y="2201091"/>
                    <a:pt x="1940176" y="2133695"/>
                  </a:cubicBezTo>
                  <a:cubicBezTo>
                    <a:pt x="2246498" y="2000349"/>
                    <a:pt x="2532507" y="1823520"/>
                    <a:pt x="2783403" y="1609954"/>
                  </a:cubicBezTo>
                  <a:cubicBezTo>
                    <a:pt x="2908442" y="1502833"/>
                    <a:pt x="3024295" y="1385975"/>
                    <a:pt x="3128104" y="1260439"/>
                  </a:cubicBezTo>
                  <a:cubicBezTo>
                    <a:pt x="3232116" y="1135096"/>
                    <a:pt x="3323881" y="1000689"/>
                    <a:pt x="3400639" y="859052"/>
                  </a:cubicBezTo>
                  <a:cubicBezTo>
                    <a:pt x="3477399" y="717510"/>
                    <a:pt x="3541296" y="569316"/>
                    <a:pt x="3585595" y="415336"/>
                  </a:cubicBezTo>
                  <a:cubicBezTo>
                    <a:pt x="3607796" y="338540"/>
                    <a:pt x="3624638" y="260224"/>
                    <a:pt x="3635918" y="181137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43ADDCFA-B066-4D79-AB71-062E66E58FE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05" y="-1"/>
              <a:ext cx="3832270" cy="2876136"/>
            </a:xfrm>
            <a:custGeom>
              <a:avLst/>
              <a:gdLst>
                <a:gd name="connsiteX0" fmla="*/ 3800718 w 3832270"/>
                <a:gd name="connsiteY0" fmla="*/ 0 h 2876136"/>
                <a:gd name="connsiteX1" fmla="*/ 3832270 w 3832270"/>
                <a:gd name="connsiteY1" fmla="*/ 0 h 2876136"/>
                <a:gd name="connsiteX2" fmla="*/ 3824562 w 3832270"/>
                <a:gd name="connsiteY2" fmla="*/ 143769 h 2876136"/>
                <a:gd name="connsiteX3" fmla="*/ 3628155 w 3832270"/>
                <a:gd name="connsiteY3" fmla="*/ 922055 h 2876136"/>
                <a:gd name="connsiteX4" fmla="*/ 3514853 w 3832270"/>
                <a:gd name="connsiteY4" fmla="*/ 1169078 h 2876136"/>
                <a:gd name="connsiteX5" fmla="*/ 3379198 w 3832270"/>
                <a:gd name="connsiteY5" fmla="*/ 1407037 h 2876136"/>
                <a:gd name="connsiteX6" fmla="*/ 3043787 w 3832270"/>
                <a:gd name="connsiteY6" fmla="*/ 1848342 h 2876136"/>
                <a:gd name="connsiteX7" fmla="*/ 2845661 w 3832270"/>
                <a:gd name="connsiteY7" fmla="*/ 2047444 h 2876136"/>
                <a:gd name="connsiteX8" fmla="*/ 2793197 w 3832270"/>
                <a:gd name="connsiteY8" fmla="*/ 2094689 h 2876136"/>
                <a:gd name="connsiteX9" fmla="*/ 2739710 w 3832270"/>
                <a:gd name="connsiteY9" fmla="*/ 2140969 h 2876136"/>
                <a:gd name="connsiteX10" fmla="*/ 2629166 w 3832270"/>
                <a:gd name="connsiteY10" fmla="*/ 2229867 h 2876136"/>
                <a:gd name="connsiteX11" fmla="*/ 2145952 w 3832270"/>
                <a:gd name="connsiteY11" fmla="*/ 2535994 h 2876136"/>
                <a:gd name="connsiteX12" fmla="*/ 1034987 w 3832270"/>
                <a:gd name="connsiteY12" fmla="*/ 2863910 h 2876136"/>
                <a:gd name="connsiteX13" fmla="*/ 741909 w 3832270"/>
                <a:gd name="connsiteY13" fmla="*/ 2875939 h 2876136"/>
                <a:gd name="connsiteX14" fmla="*/ 450208 w 3832270"/>
                <a:gd name="connsiteY14" fmla="*/ 2857451 h 2876136"/>
                <a:gd name="connsiteX15" fmla="*/ 22215 w 3832270"/>
                <a:gd name="connsiteY15" fmla="*/ 2775923 h 2876136"/>
                <a:gd name="connsiteX16" fmla="*/ 0 w 3832270"/>
                <a:gd name="connsiteY16" fmla="*/ 2769256 h 2876136"/>
                <a:gd name="connsiteX17" fmla="*/ 0 w 3832270"/>
                <a:gd name="connsiteY17" fmla="*/ 2590612 h 2876136"/>
                <a:gd name="connsiteX18" fmla="*/ 199046 w 3832270"/>
                <a:gd name="connsiteY18" fmla="*/ 2627410 h 2876136"/>
                <a:gd name="connsiteX19" fmla="*/ 468174 w 3832270"/>
                <a:gd name="connsiteY19" fmla="*/ 2649670 h 2876136"/>
                <a:gd name="connsiteX20" fmla="*/ 1003650 w 3832270"/>
                <a:gd name="connsiteY20" fmla="*/ 2622480 h 2876136"/>
                <a:gd name="connsiteX21" fmla="*/ 1266489 w 3832270"/>
                <a:gd name="connsiteY21" fmla="*/ 2573982 h 2876136"/>
                <a:gd name="connsiteX22" fmla="*/ 1524223 w 3832270"/>
                <a:gd name="connsiteY22" fmla="*/ 2504657 h 2876136"/>
                <a:gd name="connsiteX23" fmla="*/ 1775731 w 3832270"/>
                <a:gd name="connsiteY23" fmla="*/ 2416243 h 2876136"/>
                <a:gd name="connsiteX24" fmla="*/ 2019789 w 3832270"/>
                <a:gd name="connsiteY24" fmla="*/ 2309412 h 2876136"/>
                <a:gd name="connsiteX25" fmla="*/ 2482486 w 3832270"/>
                <a:gd name="connsiteY25" fmla="*/ 2046962 h 2876136"/>
                <a:gd name="connsiteX26" fmla="*/ 2591908 w 3832270"/>
                <a:gd name="connsiteY26" fmla="*/ 1971371 h 2876136"/>
                <a:gd name="connsiteX27" fmla="*/ 2645702 w 3832270"/>
                <a:gd name="connsiteY27" fmla="*/ 1932321 h 2876136"/>
                <a:gd name="connsiteX28" fmla="*/ 2698779 w 3832270"/>
                <a:gd name="connsiteY28" fmla="*/ 1892309 h 2876136"/>
                <a:gd name="connsiteX29" fmla="*/ 2903537 w 3832270"/>
                <a:gd name="connsiteY29" fmla="*/ 1722516 h 2876136"/>
                <a:gd name="connsiteX30" fmla="*/ 3269061 w 3832270"/>
                <a:gd name="connsiteY30" fmla="*/ 1337327 h 2876136"/>
                <a:gd name="connsiteX31" fmla="*/ 3424928 w 3832270"/>
                <a:gd name="connsiteY31" fmla="*/ 1122508 h 2876136"/>
                <a:gd name="connsiteX32" fmla="*/ 3557622 w 3832270"/>
                <a:gd name="connsiteY32" fmla="*/ 893226 h 2876136"/>
                <a:gd name="connsiteX33" fmla="*/ 3587019 w 3832270"/>
                <a:gd name="connsiteY33" fmla="*/ 833929 h 2876136"/>
                <a:gd name="connsiteX34" fmla="*/ 3601310 w 3832270"/>
                <a:gd name="connsiteY34" fmla="*/ 804040 h 2876136"/>
                <a:gd name="connsiteX35" fmla="*/ 3614885 w 3832270"/>
                <a:gd name="connsiteY35" fmla="*/ 773861 h 2876136"/>
                <a:gd name="connsiteX36" fmla="*/ 3640812 w 3832270"/>
                <a:gd name="connsiteY36" fmla="*/ 713022 h 2876136"/>
                <a:gd name="connsiteX37" fmla="*/ 3665105 w 3832270"/>
                <a:gd name="connsiteY37" fmla="*/ 651506 h 2876136"/>
                <a:gd name="connsiteX38" fmla="*/ 3744110 w 3832270"/>
                <a:gd name="connsiteY38" fmla="*/ 399567 h 2876136"/>
                <a:gd name="connsiteX39" fmla="*/ 3792123 w 3832270"/>
                <a:gd name="connsiteY39" fmla="*/ 140444 h 2876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3832270" h="2876136">
                  <a:moveTo>
                    <a:pt x="3800718" y="0"/>
                  </a:moveTo>
                  <a:lnTo>
                    <a:pt x="3832270" y="0"/>
                  </a:lnTo>
                  <a:lnTo>
                    <a:pt x="3824562" y="143769"/>
                  </a:lnTo>
                  <a:cubicBezTo>
                    <a:pt x="3797131" y="409191"/>
                    <a:pt x="3730585" y="671345"/>
                    <a:pt x="3628155" y="922055"/>
                  </a:cubicBezTo>
                  <a:cubicBezTo>
                    <a:pt x="3593858" y="1005553"/>
                    <a:pt x="3556704" y="1088280"/>
                    <a:pt x="3514853" y="1169078"/>
                  </a:cubicBezTo>
                  <a:cubicBezTo>
                    <a:pt x="3473616" y="1250166"/>
                    <a:pt x="3428194" y="1329517"/>
                    <a:pt x="3379198" y="1407037"/>
                  </a:cubicBezTo>
                  <a:cubicBezTo>
                    <a:pt x="3281106" y="1561980"/>
                    <a:pt x="3169132" y="1710174"/>
                    <a:pt x="3043787" y="1848342"/>
                  </a:cubicBezTo>
                  <a:cubicBezTo>
                    <a:pt x="2980806" y="1917184"/>
                    <a:pt x="2915071" y="1984001"/>
                    <a:pt x="2845661" y="2047444"/>
                  </a:cubicBezTo>
                  <a:cubicBezTo>
                    <a:pt x="2828411" y="2063450"/>
                    <a:pt x="2811060" y="2079263"/>
                    <a:pt x="2793197" y="2094689"/>
                  </a:cubicBezTo>
                  <a:cubicBezTo>
                    <a:pt x="2775436" y="2110213"/>
                    <a:pt x="2757982" y="2126025"/>
                    <a:pt x="2739710" y="2140969"/>
                  </a:cubicBezTo>
                  <a:cubicBezTo>
                    <a:pt x="2703576" y="2171341"/>
                    <a:pt x="2666524" y="2200749"/>
                    <a:pt x="2629166" y="2229867"/>
                  </a:cubicBezTo>
                  <a:cubicBezTo>
                    <a:pt x="2479015" y="2345569"/>
                    <a:pt x="2316821" y="2448061"/>
                    <a:pt x="2145952" y="2535994"/>
                  </a:cubicBezTo>
                  <a:cubicBezTo>
                    <a:pt x="1804312" y="2711957"/>
                    <a:pt x="1424600" y="2826982"/>
                    <a:pt x="1034987" y="2863910"/>
                  </a:cubicBezTo>
                  <a:cubicBezTo>
                    <a:pt x="937762" y="2873167"/>
                    <a:pt x="839720" y="2877096"/>
                    <a:pt x="741909" y="2875939"/>
                  </a:cubicBezTo>
                  <a:cubicBezTo>
                    <a:pt x="644097" y="2874782"/>
                    <a:pt x="546515" y="2868539"/>
                    <a:pt x="450208" y="2857451"/>
                  </a:cubicBezTo>
                  <a:cubicBezTo>
                    <a:pt x="305520" y="2840674"/>
                    <a:pt x="162095" y="2813810"/>
                    <a:pt x="22215" y="2775923"/>
                  </a:cubicBezTo>
                  <a:lnTo>
                    <a:pt x="0" y="2769256"/>
                  </a:lnTo>
                  <a:lnTo>
                    <a:pt x="0" y="2590612"/>
                  </a:lnTo>
                  <a:lnTo>
                    <a:pt x="199046" y="2627410"/>
                  </a:lnTo>
                  <a:cubicBezTo>
                    <a:pt x="288321" y="2639209"/>
                    <a:pt x="378197" y="2646537"/>
                    <a:pt x="468174" y="2649670"/>
                  </a:cubicBezTo>
                  <a:cubicBezTo>
                    <a:pt x="648333" y="2656805"/>
                    <a:pt x="826655" y="2647163"/>
                    <a:pt x="1003650" y="2622480"/>
                  </a:cubicBezTo>
                  <a:cubicBezTo>
                    <a:pt x="1091943" y="2609658"/>
                    <a:pt x="1179725" y="2593747"/>
                    <a:pt x="1266489" y="2573982"/>
                  </a:cubicBezTo>
                  <a:cubicBezTo>
                    <a:pt x="1353250" y="2553927"/>
                    <a:pt x="1439298" y="2531076"/>
                    <a:pt x="1524223" y="2504657"/>
                  </a:cubicBezTo>
                  <a:cubicBezTo>
                    <a:pt x="1609149" y="2478336"/>
                    <a:pt x="1693052" y="2448833"/>
                    <a:pt x="1775731" y="2416243"/>
                  </a:cubicBezTo>
                  <a:cubicBezTo>
                    <a:pt x="1858309" y="2383557"/>
                    <a:pt x="1939764" y="2347882"/>
                    <a:pt x="2019789" y="2309412"/>
                  </a:cubicBezTo>
                  <a:cubicBezTo>
                    <a:pt x="2179839" y="2232567"/>
                    <a:pt x="2334583" y="2144923"/>
                    <a:pt x="2482486" y="2046962"/>
                  </a:cubicBezTo>
                  <a:cubicBezTo>
                    <a:pt x="2519334" y="2022376"/>
                    <a:pt x="2556081" y="1997403"/>
                    <a:pt x="2591908" y="1971371"/>
                  </a:cubicBezTo>
                  <a:cubicBezTo>
                    <a:pt x="2610077" y="1958644"/>
                    <a:pt x="2627838" y="1945434"/>
                    <a:pt x="2645702" y="1932321"/>
                  </a:cubicBezTo>
                  <a:cubicBezTo>
                    <a:pt x="2663666" y="1919305"/>
                    <a:pt x="2681325" y="1905903"/>
                    <a:pt x="2698779" y="1892309"/>
                  </a:cubicBezTo>
                  <a:cubicBezTo>
                    <a:pt x="2768903" y="1838025"/>
                    <a:pt x="2837496" y="1781717"/>
                    <a:pt x="2903537" y="1722516"/>
                  </a:cubicBezTo>
                  <a:cubicBezTo>
                    <a:pt x="3035926" y="1604501"/>
                    <a:pt x="3158720" y="1475784"/>
                    <a:pt x="3269061" y="1337327"/>
                  </a:cubicBezTo>
                  <a:cubicBezTo>
                    <a:pt x="3324182" y="1268099"/>
                    <a:pt x="3376341" y="1196461"/>
                    <a:pt x="3424928" y="1122508"/>
                  </a:cubicBezTo>
                  <a:cubicBezTo>
                    <a:pt x="3472697" y="1048170"/>
                    <a:pt x="3517814" y="972000"/>
                    <a:pt x="3557622" y="893226"/>
                  </a:cubicBezTo>
                  <a:cubicBezTo>
                    <a:pt x="3567931" y="873654"/>
                    <a:pt x="3577526" y="853791"/>
                    <a:pt x="3587019" y="833929"/>
                  </a:cubicBezTo>
                  <a:lnTo>
                    <a:pt x="3601310" y="804040"/>
                  </a:lnTo>
                  <a:lnTo>
                    <a:pt x="3614885" y="773861"/>
                  </a:lnTo>
                  <a:cubicBezTo>
                    <a:pt x="3623766" y="753709"/>
                    <a:pt x="3632748" y="733559"/>
                    <a:pt x="3640812" y="713022"/>
                  </a:cubicBezTo>
                  <a:cubicBezTo>
                    <a:pt x="3648876" y="692485"/>
                    <a:pt x="3657756" y="672236"/>
                    <a:pt x="3665105" y="651506"/>
                  </a:cubicBezTo>
                  <a:cubicBezTo>
                    <a:pt x="3696544" y="569166"/>
                    <a:pt x="3723185" y="485089"/>
                    <a:pt x="3744110" y="399567"/>
                  </a:cubicBezTo>
                  <a:cubicBezTo>
                    <a:pt x="3765341" y="314238"/>
                    <a:pt x="3781392" y="227654"/>
                    <a:pt x="3792123" y="140444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2" name="Picture 1" descr="A close up of a logo&#10;&#10;Description automatically generated">
            <a:extLst>
              <a:ext uri="{FF2B5EF4-FFF2-40B4-BE49-F238E27FC236}">
                <a16:creationId xmlns:a16="http://schemas.microsoft.com/office/drawing/2014/main" id="{05B91402-6838-49C6-9596-03E7E2523F2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78581" y="-13058"/>
            <a:ext cx="3217333" cy="321733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FAD3D425-7647-4F0F-8ECD-51A644A10CB5}"/>
              </a:ext>
            </a:extLst>
          </p:cNvPr>
          <p:cNvSpPr txBox="1"/>
          <p:nvPr/>
        </p:nvSpPr>
        <p:spPr>
          <a:xfrm>
            <a:off x="518408" y="2988807"/>
            <a:ext cx="6375260" cy="32276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R="0" lvl="0" defTabSz="914400" fontAlgn="auto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tabLst/>
              <a:defRPr/>
            </a:pPr>
            <a:endParaRPr lang="en-US" sz="2000" b="1" dirty="0">
              <a:solidFill>
                <a:schemeClr val="tx2"/>
              </a:solidFill>
            </a:endParaRPr>
          </a:p>
          <a:p>
            <a:pPr marR="0" lvl="0" defTabSz="914400" fontAlgn="auto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ru-RU" sz="2400" b="1" dirty="0">
                <a:solidFill>
                  <a:schemeClr val="tx2"/>
                </a:solidFill>
              </a:rPr>
              <a:t>Новая рабочая программа ККЭС на период 2023-202</a:t>
            </a:r>
            <a:r>
              <a:rPr lang="en-US" sz="2400" b="1" dirty="0">
                <a:solidFill>
                  <a:schemeClr val="tx2"/>
                </a:solidFill>
              </a:rPr>
              <a:t>5</a:t>
            </a:r>
            <a:r>
              <a:rPr lang="ru-RU" sz="2400" b="1" dirty="0">
                <a:solidFill>
                  <a:schemeClr val="tx2"/>
                </a:solidFill>
              </a:rPr>
              <a:t> гг. </a:t>
            </a:r>
            <a:endParaRPr lang="en-US" sz="2400" b="1" dirty="0">
              <a:solidFill>
                <a:schemeClr val="tx2"/>
              </a:solidFill>
            </a:endParaRPr>
          </a:p>
          <a:p>
            <a:pPr marR="0" lvl="0" defTabSz="914400" fontAlgn="auto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tabLst/>
              <a:defRPr/>
            </a:pPr>
            <a:endParaRPr lang="en-US" sz="1600" b="1" dirty="0">
              <a:solidFill>
                <a:schemeClr val="tx2"/>
              </a:solidFill>
            </a:endParaRPr>
          </a:p>
          <a:p>
            <a:pPr marR="0" lvl="0" defTabSz="914400" fontAlgn="auto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ru-RU" sz="1200" b="1" dirty="0">
                <a:solidFill>
                  <a:schemeClr val="tx2"/>
                </a:solidFill>
              </a:rPr>
              <a:t>Г-н Мартин Сомерсет </a:t>
            </a:r>
            <a:r>
              <a:rPr lang="ru-RU" sz="1200" b="1" dirty="0" err="1">
                <a:solidFill>
                  <a:schemeClr val="tx2"/>
                </a:solidFill>
              </a:rPr>
              <a:t>Джаер</a:t>
            </a:r>
            <a:r>
              <a:rPr lang="ru-RU" sz="1200" b="1" dirty="0">
                <a:solidFill>
                  <a:schemeClr val="tx2"/>
                </a:solidFill>
              </a:rPr>
              <a:t>, АБР</a:t>
            </a:r>
          </a:p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defRPr/>
            </a:pPr>
            <a:r>
              <a:rPr kumimoji="0" lang="en-US" sz="1200" b="1" i="0" u="none" strike="noStrike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33</a:t>
            </a:r>
            <a:r>
              <a:rPr kumimoji="0" lang="ru-RU" sz="1200" b="1" i="0" u="none" strike="noStrike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ье</a:t>
            </a:r>
            <a:r>
              <a:rPr kumimoji="0" lang="en-US" sz="1200" b="1" i="0" u="none" strike="noStrike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 </a:t>
            </a:r>
            <a:r>
              <a:rPr kumimoji="0" lang="ru-RU" sz="1200" b="1" i="0" u="none" strike="noStrike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заседание ККЭС</a:t>
            </a:r>
            <a:r>
              <a:rPr kumimoji="0" lang="en-US" sz="1200" b="1" i="0" u="none" strike="noStrike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,  </a:t>
            </a:r>
            <a:r>
              <a:rPr lang="en-US" sz="1200" b="1" dirty="0">
                <a:solidFill>
                  <a:schemeClr val="tx2"/>
                </a:solidFill>
              </a:rPr>
              <a:t>16 </a:t>
            </a:r>
            <a:r>
              <a:rPr lang="ru-RU" sz="1200" b="1" dirty="0">
                <a:solidFill>
                  <a:schemeClr val="tx2"/>
                </a:solidFill>
              </a:rPr>
              <a:t>мая</a:t>
            </a:r>
            <a:r>
              <a:rPr lang="en-US" sz="1200" b="1" dirty="0">
                <a:solidFill>
                  <a:schemeClr val="tx2"/>
                </a:solidFill>
              </a:rPr>
              <a:t> 2023</a:t>
            </a:r>
          </a:p>
          <a:p>
            <a:pPr marR="0" lvl="0" defTabSz="914400" fontAlgn="auto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tabLst/>
              <a:defRPr/>
            </a:pPr>
            <a:endParaRPr lang="en-US" sz="1200" b="1" dirty="0">
              <a:solidFill>
                <a:schemeClr val="tx2"/>
              </a:solidFill>
            </a:endParaRP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C78D9229-E61D-4FEE-8321-2F8B64A8CAD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 rot="5400000" flipH="1">
            <a:off x="7370569" y="5084569"/>
            <a:ext cx="2151670" cy="1395192"/>
            <a:chOff x="-305" y="-4155"/>
            <a:chExt cx="2514948" cy="2174333"/>
          </a:xfrm>
        </p:grpSpPr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1FDD3CCB-26A3-4D79-AEB6-7A60CF980DC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0"/>
              <a:ext cx="2514948" cy="2170178"/>
            </a:xfrm>
            <a:custGeom>
              <a:avLst/>
              <a:gdLst>
                <a:gd name="connsiteX0" fmla="*/ 2466091 w 2514948"/>
                <a:gd name="connsiteY0" fmla="*/ 0 h 2170178"/>
                <a:gd name="connsiteX1" fmla="*/ 2514948 w 2514948"/>
                <a:gd name="connsiteY1" fmla="*/ 0 h 2170178"/>
                <a:gd name="connsiteX2" fmla="*/ 2512286 w 2514948"/>
                <a:gd name="connsiteY2" fmla="*/ 12375 h 2170178"/>
                <a:gd name="connsiteX3" fmla="*/ 2394961 w 2514948"/>
                <a:gd name="connsiteY3" fmla="*/ 368660 h 2170178"/>
                <a:gd name="connsiteX4" fmla="*/ 2289734 w 2514948"/>
                <a:gd name="connsiteY4" fmla="*/ 598078 h 2170178"/>
                <a:gd name="connsiteX5" fmla="*/ 2163747 w 2514948"/>
                <a:gd name="connsiteY5" fmla="*/ 819078 h 2170178"/>
                <a:gd name="connsiteX6" fmla="*/ 1852241 w 2514948"/>
                <a:gd name="connsiteY6" fmla="*/ 1228932 h 2170178"/>
                <a:gd name="connsiteX7" fmla="*/ 1668235 w 2514948"/>
                <a:gd name="connsiteY7" fmla="*/ 1413844 h 2170178"/>
                <a:gd name="connsiteX8" fmla="*/ 1619510 w 2514948"/>
                <a:gd name="connsiteY8" fmla="*/ 1457722 h 2170178"/>
                <a:gd name="connsiteX9" fmla="*/ 1569835 w 2514948"/>
                <a:gd name="connsiteY9" fmla="*/ 1500704 h 2170178"/>
                <a:gd name="connsiteX10" fmla="*/ 1467169 w 2514948"/>
                <a:gd name="connsiteY10" fmla="*/ 1583266 h 2170178"/>
                <a:gd name="connsiteX11" fmla="*/ 1018393 w 2514948"/>
                <a:gd name="connsiteY11" fmla="*/ 1867576 h 2170178"/>
                <a:gd name="connsiteX12" fmla="*/ 255857 w 2514948"/>
                <a:gd name="connsiteY12" fmla="*/ 2133049 h 2170178"/>
                <a:gd name="connsiteX13" fmla="*/ 0 w 2514948"/>
                <a:gd name="connsiteY13" fmla="*/ 2170178 h 2170178"/>
                <a:gd name="connsiteX14" fmla="*/ 0 w 2514948"/>
                <a:gd name="connsiteY14" fmla="*/ 1940056 h 2170178"/>
                <a:gd name="connsiteX15" fmla="*/ 201609 w 2514948"/>
                <a:gd name="connsiteY15" fmla="*/ 1902856 h 2170178"/>
                <a:gd name="connsiteX16" fmla="*/ 440974 w 2514948"/>
                <a:gd name="connsiteY16" fmla="*/ 1838472 h 2170178"/>
                <a:gd name="connsiteX17" fmla="*/ 674558 w 2514948"/>
                <a:gd name="connsiteY17" fmla="*/ 1756359 h 2170178"/>
                <a:gd name="connsiteX18" fmla="*/ 901222 w 2514948"/>
                <a:gd name="connsiteY18" fmla="*/ 1657142 h 2170178"/>
                <a:gd name="connsiteX19" fmla="*/ 1330943 w 2514948"/>
                <a:gd name="connsiteY19" fmla="*/ 1413396 h 2170178"/>
                <a:gd name="connsiteX20" fmla="*/ 1432566 w 2514948"/>
                <a:gd name="connsiteY20" fmla="*/ 1343193 h 2170178"/>
                <a:gd name="connsiteX21" fmla="*/ 1482527 w 2514948"/>
                <a:gd name="connsiteY21" fmla="*/ 1306926 h 2170178"/>
                <a:gd name="connsiteX22" fmla="*/ 1531821 w 2514948"/>
                <a:gd name="connsiteY22" fmla="*/ 1269765 h 2170178"/>
                <a:gd name="connsiteX23" fmla="*/ 1721986 w 2514948"/>
                <a:gd name="connsiteY23" fmla="*/ 1112073 h 2170178"/>
                <a:gd name="connsiteX24" fmla="*/ 2061460 w 2514948"/>
                <a:gd name="connsiteY24" fmla="*/ 754336 h 2170178"/>
                <a:gd name="connsiteX25" fmla="*/ 2206218 w 2514948"/>
                <a:gd name="connsiteY25" fmla="*/ 554827 h 2170178"/>
                <a:gd name="connsiteX26" fmla="*/ 2329455 w 2514948"/>
                <a:gd name="connsiteY26" fmla="*/ 341886 h 2170178"/>
                <a:gd name="connsiteX27" fmla="*/ 2356757 w 2514948"/>
                <a:gd name="connsiteY27" fmla="*/ 286815 h 2170178"/>
                <a:gd name="connsiteX28" fmla="*/ 2370030 w 2514948"/>
                <a:gd name="connsiteY28" fmla="*/ 259056 h 2170178"/>
                <a:gd name="connsiteX29" fmla="*/ 2382637 w 2514948"/>
                <a:gd name="connsiteY29" fmla="*/ 231028 h 2170178"/>
                <a:gd name="connsiteX30" fmla="*/ 2406716 w 2514948"/>
                <a:gd name="connsiteY30" fmla="*/ 174525 h 2170178"/>
                <a:gd name="connsiteX31" fmla="*/ 2429278 w 2514948"/>
                <a:gd name="connsiteY31" fmla="*/ 117393 h 2170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514948" h="2170178">
                  <a:moveTo>
                    <a:pt x="2466091" y="0"/>
                  </a:moveTo>
                  <a:lnTo>
                    <a:pt x="2514948" y="0"/>
                  </a:lnTo>
                  <a:lnTo>
                    <a:pt x="2512286" y="12375"/>
                  </a:lnTo>
                  <a:cubicBezTo>
                    <a:pt x="2481760" y="133161"/>
                    <a:pt x="2442526" y="252239"/>
                    <a:pt x="2394961" y="368660"/>
                  </a:cubicBezTo>
                  <a:cubicBezTo>
                    <a:pt x="2363109" y="446208"/>
                    <a:pt x="2328603" y="523039"/>
                    <a:pt x="2289734" y="598078"/>
                  </a:cubicBezTo>
                  <a:cubicBezTo>
                    <a:pt x="2251436" y="673387"/>
                    <a:pt x="2209251" y="747083"/>
                    <a:pt x="2163747" y="819078"/>
                  </a:cubicBezTo>
                  <a:cubicBezTo>
                    <a:pt x="2072646" y="962979"/>
                    <a:pt x="1968652" y="1100611"/>
                    <a:pt x="1852241" y="1228932"/>
                  </a:cubicBezTo>
                  <a:cubicBezTo>
                    <a:pt x="1793748" y="1292868"/>
                    <a:pt x="1732698" y="1354923"/>
                    <a:pt x="1668235" y="1413844"/>
                  </a:cubicBezTo>
                  <a:cubicBezTo>
                    <a:pt x="1652214" y="1428709"/>
                    <a:pt x="1636100" y="1443395"/>
                    <a:pt x="1619510" y="1457722"/>
                  </a:cubicBezTo>
                  <a:cubicBezTo>
                    <a:pt x="1603015" y="1472140"/>
                    <a:pt x="1586805" y="1486825"/>
                    <a:pt x="1569835" y="1500704"/>
                  </a:cubicBezTo>
                  <a:cubicBezTo>
                    <a:pt x="1536276" y="1528911"/>
                    <a:pt x="1501865" y="1556223"/>
                    <a:pt x="1467169" y="1583266"/>
                  </a:cubicBezTo>
                  <a:cubicBezTo>
                    <a:pt x="1327719" y="1690722"/>
                    <a:pt x="1177085" y="1785910"/>
                    <a:pt x="1018393" y="1867576"/>
                  </a:cubicBezTo>
                  <a:cubicBezTo>
                    <a:pt x="780425" y="1990142"/>
                    <a:pt x="522567" y="2080875"/>
                    <a:pt x="255857" y="2133049"/>
                  </a:cubicBezTo>
                  <a:lnTo>
                    <a:pt x="0" y="2170178"/>
                  </a:lnTo>
                  <a:lnTo>
                    <a:pt x="0" y="1940056"/>
                  </a:lnTo>
                  <a:lnTo>
                    <a:pt x="201609" y="1902856"/>
                  </a:lnTo>
                  <a:cubicBezTo>
                    <a:pt x="282186" y="1884231"/>
                    <a:pt x="362102" y="1863008"/>
                    <a:pt x="440974" y="1838472"/>
                  </a:cubicBezTo>
                  <a:cubicBezTo>
                    <a:pt x="519848" y="1814027"/>
                    <a:pt x="597771" y="1786627"/>
                    <a:pt x="674558" y="1756359"/>
                  </a:cubicBezTo>
                  <a:cubicBezTo>
                    <a:pt x="751250" y="1726003"/>
                    <a:pt x="826900" y="1692870"/>
                    <a:pt x="901222" y="1657142"/>
                  </a:cubicBezTo>
                  <a:cubicBezTo>
                    <a:pt x="1049865" y="1585774"/>
                    <a:pt x="1193581" y="1504376"/>
                    <a:pt x="1330943" y="1413396"/>
                  </a:cubicBezTo>
                  <a:cubicBezTo>
                    <a:pt x="1365165" y="1390563"/>
                    <a:pt x="1399293" y="1367370"/>
                    <a:pt x="1432566" y="1343193"/>
                  </a:cubicBezTo>
                  <a:cubicBezTo>
                    <a:pt x="1449441" y="1331373"/>
                    <a:pt x="1465936" y="1319104"/>
                    <a:pt x="1482527" y="1306926"/>
                  </a:cubicBezTo>
                  <a:cubicBezTo>
                    <a:pt x="1499210" y="1294837"/>
                    <a:pt x="1515611" y="1282391"/>
                    <a:pt x="1531821" y="1269765"/>
                  </a:cubicBezTo>
                  <a:cubicBezTo>
                    <a:pt x="1596947" y="1219350"/>
                    <a:pt x="1660652" y="1167055"/>
                    <a:pt x="1721986" y="1112073"/>
                  </a:cubicBezTo>
                  <a:cubicBezTo>
                    <a:pt x="1844940" y="1002469"/>
                    <a:pt x="1958983" y="882926"/>
                    <a:pt x="2061460" y="754336"/>
                  </a:cubicBezTo>
                  <a:cubicBezTo>
                    <a:pt x="2112652" y="690042"/>
                    <a:pt x="2161094" y="623510"/>
                    <a:pt x="2206218" y="554827"/>
                  </a:cubicBezTo>
                  <a:cubicBezTo>
                    <a:pt x="2250583" y="485787"/>
                    <a:pt x="2292484" y="415046"/>
                    <a:pt x="2329455" y="341886"/>
                  </a:cubicBezTo>
                  <a:cubicBezTo>
                    <a:pt x="2339030" y="323709"/>
                    <a:pt x="2347941" y="305261"/>
                    <a:pt x="2356757" y="286815"/>
                  </a:cubicBezTo>
                  <a:lnTo>
                    <a:pt x="2370030" y="259056"/>
                  </a:lnTo>
                  <a:lnTo>
                    <a:pt x="2382637" y="231028"/>
                  </a:lnTo>
                  <a:cubicBezTo>
                    <a:pt x="2390885" y="212312"/>
                    <a:pt x="2399227" y="193598"/>
                    <a:pt x="2406716" y="174525"/>
                  </a:cubicBezTo>
                  <a:cubicBezTo>
                    <a:pt x="2414206" y="155452"/>
                    <a:pt x="2422453" y="136646"/>
                    <a:pt x="2429278" y="117393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E9AC4470-5113-4709-B29F-CDB937F2545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-4155"/>
              <a:ext cx="2493062" cy="1947896"/>
            </a:xfrm>
            <a:custGeom>
              <a:avLst/>
              <a:gdLst>
                <a:gd name="connsiteX0" fmla="*/ 1896911 w 2493062"/>
                <a:gd name="connsiteY0" fmla="*/ 0 h 1947896"/>
                <a:gd name="connsiteX1" fmla="*/ 2493062 w 2493062"/>
                <a:gd name="connsiteY1" fmla="*/ 0 h 1947896"/>
                <a:gd name="connsiteX2" fmla="*/ 2435315 w 2493062"/>
                <a:gd name="connsiteY2" fmla="*/ 178165 h 1947896"/>
                <a:gd name="connsiteX3" fmla="*/ 93066 w 2493062"/>
                <a:gd name="connsiteY3" fmla="*/ 1935859 h 1947896"/>
                <a:gd name="connsiteX4" fmla="*/ 0 w 2493062"/>
                <a:gd name="connsiteY4" fmla="*/ 1947896 h 1947896"/>
                <a:gd name="connsiteX5" fmla="*/ 0 w 2493062"/>
                <a:gd name="connsiteY5" fmla="*/ 1404756 h 1947896"/>
                <a:gd name="connsiteX6" fmla="*/ 17392 w 2493062"/>
                <a:gd name="connsiteY6" fmla="*/ 1402364 h 1947896"/>
                <a:gd name="connsiteX7" fmla="*/ 464249 w 2493062"/>
                <a:gd name="connsiteY7" fmla="*/ 1281208 h 1947896"/>
                <a:gd name="connsiteX8" fmla="*/ 1260556 w 2493062"/>
                <a:gd name="connsiteY8" fmla="*/ 833835 h 1947896"/>
                <a:gd name="connsiteX9" fmla="*/ 1807924 w 2493062"/>
                <a:gd name="connsiteY9" fmla="*/ 193222 h 1947896"/>
                <a:gd name="connsiteX10" fmla="*/ 1874357 w 2493062"/>
                <a:gd name="connsiteY10" fmla="*/ 58333 h 19478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93062" h="1947896">
                  <a:moveTo>
                    <a:pt x="1896911" y="0"/>
                  </a:moveTo>
                  <a:lnTo>
                    <a:pt x="2493062" y="0"/>
                  </a:lnTo>
                  <a:lnTo>
                    <a:pt x="2435315" y="178165"/>
                  </a:lnTo>
                  <a:cubicBezTo>
                    <a:pt x="2088122" y="1071812"/>
                    <a:pt x="1129732" y="1758033"/>
                    <a:pt x="93066" y="1935859"/>
                  </a:cubicBezTo>
                  <a:lnTo>
                    <a:pt x="0" y="1947896"/>
                  </a:lnTo>
                  <a:lnTo>
                    <a:pt x="0" y="1404756"/>
                  </a:lnTo>
                  <a:lnTo>
                    <a:pt x="17392" y="1402364"/>
                  </a:lnTo>
                  <a:cubicBezTo>
                    <a:pt x="167719" y="1375030"/>
                    <a:pt x="318070" y="1334398"/>
                    <a:pt x="464249" y="1281208"/>
                  </a:cubicBezTo>
                  <a:cubicBezTo>
                    <a:pt x="753480" y="1176081"/>
                    <a:pt x="1028869" y="1021346"/>
                    <a:pt x="1260556" y="833835"/>
                  </a:cubicBezTo>
                  <a:cubicBezTo>
                    <a:pt x="1491960" y="646594"/>
                    <a:pt x="1681177" y="425056"/>
                    <a:pt x="1807924" y="193222"/>
                  </a:cubicBezTo>
                  <a:cubicBezTo>
                    <a:pt x="1832328" y="148578"/>
                    <a:pt x="1854477" y="103599"/>
                    <a:pt x="1874357" y="58333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3E0D146C-9DAB-421E-AE88-5F854BF3F7E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0"/>
              <a:ext cx="2501089" cy="1972702"/>
            </a:xfrm>
            <a:custGeom>
              <a:avLst/>
              <a:gdLst>
                <a:gd name="connsiteX0" fmla="*/ 2318728 w 2501089"/>
                <a:gd name="connsiteY0" fmla="*/ 0 h 1972702"/>
                <a:gd name="connsiteX1" fmla="*/ 2501089 w 2501089"/>
                <a:gd name="connsiteY1" fmla="*/ 0 h 1972702"/>
                <a:gd name="connsiteX2" fmla="*/ 2453909 w 2501089"/>
                <a:gd name="connsiteY2" fmla="*/ 167837 h 1972702"/>
                <a:gd name="connsiteX3" fmla="*/ 2361125 w 2501089"/>
                <a:gd name="connsiteY3" fmla="*/ 392084 h 1972702"/>
                <a:gd name="connsiteX4" fmla="*/ 1768255 w 2501089"/>
                <a:gd name="connsiteY4" fmla="*/ 1167644 h 1972702"/>
                <a:gd name="connsiteX5" fmla="*/ 1375125 w 2501089"/>
                <a:gd name="connsiteY5" fmla="*/ 1471474 h 1972702"/>
                <a:gd name="connsiteX6" fmla="*/ 935735 w 2501089"/>
                <a:gd name="connsiteY6" fmla="*/ 1712713 h 1972702"/>
                <a:gd name="connsiteX7" fmla="*/ 212353 w 2501089"/>
                <a:gd name="connsiteY7" fmla="*/ 1940294 h 1972702"/>
                <a:gd name="connsiteX8" fmla="*/ 0 w 2501089"/>
                <a:gd name="connsiteY8" fmla="*/ 1972702 h 1972702"/>
                <a:gd name="connsiteX9" fmla="*/ 0 w 2501089"/>
                <a:gd name="connsiteY9" fmla="*/ 1732181 h 1972702"/>
                <a:gd name="connsiteX10" fmla="*/ 161195 w 2501089"/>
                <a:gd name="connsiteY10" fmla="*/ 1706590 h 1972702"/>
                <a:gd name="connsiteX11" fmla="*/ 388463 w 2501089"/>
                <a:gd name="connsiteY11" fmla="*/ 1652268 h 1972702"/>
                <a:gd name="connsiteX12" fmla="*/ 826716 w 2501089"/>
                <a:gd name="connsiteY12" fmla="*/ 1493950 h 1972702"/>
                <a:gd name="connsiteX13" fmla="*/ 1609847 w 2501089"/>
                <a:gd name="connsiteY13" fmla="*/ 1007535 h 1972702"/>
                <a:gd name="connsiteX14" fmla="*/ 1929982 w 2501089"/>
                <a:gd name="connsiteY14" fmla="*/ 682930 h 1972702"/>
                <a:gd name="connsiteX15" fmla="*/ 2183093 w 2501089"/>
                <a:gd name="connsiteY15" fmla="*/ 310149 h 1972702"/>
                <a:gd name="connsiteX16" fmla="*/ 2280286 w 2501089"/>
                <a:gd name="connsiteY16" fmla="*/ 108435 h 1972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501089" h="1972702">
                  <a:moveTo>
                    <a:pt x="2318728" y="0"/>
                  </a:moveTo>
                  <a:lnTo>
                    <a:pt x="2501089" y="0"/>
                  </a:lnTo>
                  <a:lnTo>
                    <a:pt x="2453909" y="167837"/>
                  </a:lnTo>
                  <a:cubicBezTo>
                    <a:pt x="2427555" y="244153"/>
                    <a:pt x="2396627" y="319103"/>
                    <a:pt x="2361125" y="392084"/>
                  </a:cubicBezTo>
                  <a:cubicBezTo>
                    <a:pt x="2218453" y="684005"/>
                    <a:pt x="2011698" y="945211"/>
                    <a:pt x="1768255" y="1167644"/>
                  </a:cubicBezTo>
                  <a:cubicBezTo>
                    <a:pt x="1646250" y="1278860"/>
                    <a:pt x="1514385" y="1380316"/>
                    <a:pt x="1375125" y="1471474"/>
                  </a:cubicBezTo>
                  <a:cubicBezTo>
                    <a:pt x="1235677" y="1562542"/>
                    <a:pt x="1088928" y="1643672"/>
                    <a:pt x="935735" y="1712713"/>
                  </a:cubicBezTo>
                  <a:cubicBezTo>
                    <a:pt x="705659" y="1815533"/>
                    <a:pt x="462359" y="1892212"/>
                    <a:pt x="212353" y="1940294"/>
                  </a:cubicBezTo>
                  <a:lnTo>
                    <a:pt x="0" y="1972702"/>
                  </a:lnTo>
                  <a:lnTo>
                    <a:pt x="0" y="1732181"/>
                  </a:lnTo>
                  <a:lnTo>
                    <a:pt x="161195" y="1706590"/>
                  </a:lnTo>
                  <a:cubicBezTo>
                    <a:pt x="237638" y="1691378"/>
                    <a:pt x="313477" y="1673222"/>
                    <a:pt x="388463" y="1652268"/>
                  </a:cubicBezTo>
                  <a:cubicBezTo>
                    <a:pt x="538529" y="1610539"/>
                    <a:pt x="684898" y="1556543"/>
                    <a:pt x="826716" y="1493950"/>
                  </a:cubicBezTo>
                  <a:cubicBezTo>
                    <a:pt x="1111207" y="1370107"/>
                    <a:pt x="1376832" y="1205881"/>
                    <a:pt x="1609847" y="1007535"/>
                  </a:cubicBezTo>
                  <a:cubicBezTo>
                    <a:pt x="1725975" y="908049"/>
                    <a:pt x="1833571" y="799519"/>
                    <a:pt x="1929982" y="682930"/>
                  </a:cubicBezTo>
                  <a:cubicBezTo>
                    <a:pt x="2026581" y="566520"/>
                    <a:pt x="2111806" y="441692"/>
                    <a:pt x="2183093" y="310149"/>
                  </a:cubicBezTo>
                  <a:cubicBezTo>
                    <a:pt x="2218738" y="244422"/>
                    <a:pt x="2251396" y="177150"/>
                    <a:pt x="2280286" y="108435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800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12EB32A5-4408-4F6C-84B2-F9A908237A6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05" y="1"/>
              <a:ext cx="2491105" cy="1943661"/>
            </a:xfrm>
            <a:custGeom>
              <a:avLst/>
              <a:gdLst>
                <a:gd name="connsiteX0" fmla="*/ 1995408 w 2491105"/>
                <a:gd name="connsiteY0" fmla="*/ 0 h 1943661"/>
                <a:gd name="connsiteX1" fmla="*/ 2491105 w 2491105"/>
                <a:gd name="connsiteY1" fmla="*/ 0 h 1943661"/>
                <a:gd name="connsiteX2" fmla="*/ 2434705 w 2491105"/>
                <a:gd name="connsiteY2" fmla="*/ 174009 h 1943661"/>
                <a:gd name="connsiteX3" fmla="*/ 92457 w 2491105"/>
                <a:gd name="connsiteY3" fmla="*/ 1931703 h 1943661"/>
                <a:gd name="connsiteX4" fmla="*/ 0 w 2491105"/>
                <a:gd name="connsiteY4" fmla="*/ 1943661 h 1943661"/>
                <a:gd name="connsiteX5" fmla="*/ 0 w 2491105"/>
                <a:gd name="connsiteY5" fmla="*/ 1491489 h 1943661"/>
                <a:gd name="connsiteX6" fmla="*/ 34107 w 2491105"/>
                <a:gd name="connsiteY6" fmla="*/ 1486836 h 1943661"/>
                <a:gd name="connsiteX7" fmla="*/ 497577 w 2491105"/>
                <a:gd name="connsiteY7" fmla="*/ 1360598 h 1943661"/>
                <a:gd name="connsiteX8" fmla="*/ 1321566 w 2491105"/>
                <a:gd name="connsiteY8" fmla="*/ 897645 h 1943661"/>
                <a:gd name="connsiteX9" fmla="*/ 1891495 w 2491105"/>
                <a:gd name="connsiteY9" fmla="*/ 230078 h 1943661"/>
                <a:gd name="connsiteX10" fmla="*/ 1961469 w 2491105"/>
                <a:gd name="connsiteY10" fmla="*/ 87885 h 1943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91105" h="1943661">
                  <a:moveTo>
                    <a:pt x="1995408" y="0"/>
                  </a:moveTo>
                  <a:lnTo>
                    <a:pt x="2491105" y="0"/>
                  </a:lnTo>
                  <a:lnTo>
                    <a:pt x="2434705" y="174009"/>
                  </a:lnTo>
                  <a:cubicBezTo>
                    <a:pt x="2087512" y="1067655"/>
                    <a:pt x="1129122" y="1753877"/>
                    <a:pt x="92457" y="1931703"/>
                  </a:cubicBezTo>
                  <a:lnTo>
                    <a:pt x="0" y="1943661"/>
                  </a:lnTo>
                  <a:lnTo>
                    <a:pt x="0" y="1491489"/>
                  </a:lnTo>
                  <a:lnTo>
                    <a:pt x="34107" y="1486836"/>
                  </a:lnTo>
                  <a:cubicBezTo>
                    <a:pt x="189055" y="1458696"/>
                    <a:pt x="343908" y="1416565"/>
                    <a:pt x="497577" y="1360598"/>
                  </a:cubicBezTo>
                  <a:cubicBezTo>
                    <a:pt x="796856" y="1251889"/>
                    <a:pt x="1081725" y="1091781"/>
                    <a:pt x="1321566" y="897645"/>
                  </a:cubicBezTo>
                  <a:cubicBezTo>
                    <a:pt x="1565577" y="700195"/>
                    <a:pt x="1757355" y="475523"/>
                    <a:pt x="1891495" y="230078"/>
                  </a:cubicBezTo>
                  <a:cubicBezTo>
                    <a:pt x="1917197" y="183033"/>
                    <a:pt x="1940526" y="135619"/>
                    <a:pt x="1961469" y="87885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58061516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43">
            <a:extLst>
              <a:ext uri="{FF2B5EF4-FFF2-40B4-BE49-F238E27FC236}">
                <a16:creationId xmlns:a16="http://schemas.microsoft.com/office/drawing/2014/main" id="{B0D23A5C-406B-A3DB-175D-EE84689FCDB1}"/>
              </a:ext>
            </a:extLst>
          </p:cNvPr>
          <p:cNvSpPr/>
          <p:nvPr/>
        </p:nvSpPr>
        <p:spPr>
          <a:xfrm>
            <a:off x="-1" y="6636981"/>
            <a:ext cx="6420255" cy="2210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395ECF5-8828-6A44-A583-20F5B8B65179}"/>
              </a:ext>
            </a:extLst>
          </p:cNvPr>
          <p:cNvSpPr txBox="1">
            <a:spLocks/>
          </p:cNvSpPr>
          <p:nvPr/>
        </p:nvSpPr>
        <p:spPr>
          <a:xfrm>
            <a:off x="197962" y="370124"/>
            <a:ext cx="8151381" cy="689018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007DB7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Энергетическая стратегия ЦАРЭС на период до 2030 – старт задан в 2019 г –</a:t>
            </a:r>
            <a:r>
              <a:rPr lang="en-GB" sz="2400" dirty="0">
                <a:solidFill>
                  <a:srgbClr val="007DB7">
                    <a:lumMod val="75000"/>
                  </a:srgbClr>
                </a:solidFill>
                <a:latin typeface="Calibri" panose="020F0502020204030204"/>
              </a:rPr>
              <a:t> </a:t>
            </a:r>
            <a:r>
              <a:rPr lang="ru-RU" sz="2400" dirty="0">
                <a:solidFill>
                  <a:srgbClr val="007DB7">
                    <a:lumMod val="75000"/>
                  </a:srgbClr>
                </a:solidFill>
                <a:latin typeface="Calibri" panose="020F0502020204030204"/>
              </a:rPr>
              <a:t>Все также </a:t>
            </a: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007DB7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соответствует основным приоритетам, заданным на 2023 год. 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7DB7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</p:txBody>
      </p:sp>
      <p:pic>
        <p:nvPicPr>
          <p:cNvPr id="23" name="Picture 22" descr="A close up of a logo&#10;&#10;Description automatically generated">
            <a:extLst>
              <a:ext uri="{FF2B5EF4-FFF2-40B4-BE49-F238E27FC236}">
                <a16:creationId xmlns:a16="http://schemas.microsoft.com/office/drawing/2014/main" id="{05B91402-6838-49C6-9596-03E7E2523F2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3605" y="90709"/>
            <a:ext cx="950150" cy="95015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161A0D2-C174-2EF9-1F77-7A2795909C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045616"/>
            <a:ext cx="3308808" cy="39993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726CC0E8-AA3E-02AC-CB79-54DDA73A05E9}"/>
              </a:ext>
            </a:extLst>
          </p:cNvPr>
          <p:cNvSpPr txBox="1"/>
          <p:nvPr/>
        </p:nvSpPr>
        <p:spPr>
          <a:xfrm>
            <a:off x="3308808" y="1967026"/>
            <a:ext cx="5504082" cy="34778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u="sng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Ключевые стратегические приоритеты</a:t>
            </a:r>
            <a:r>
              <a:rPr lang="en-US" sz="2000" u="sng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: </a:t>
            </a:r>
          </a:p>
          <a:p>
            <a:endParaRPr lang="en-US" sz="2000" u="sng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ru-RU" sz="20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Повышение энергетической безопасности за счет региональных взаимосвязей</a:t>
            </a:r>
            <a:endParaRPr lang="en-US" sz="20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457200" indent="-457200">
              <a:buFont typeface="+mj-lt"/>
              <a:buAutoNum type="arabicPeriod"/>
            </a:pPr>
            <a:endParaRPr lang="en-US" sz="20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ru-RU" sz="20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Увеличение объема инвестиций за счет рыночных реформ</a:t>
            </a:r>
            <a:endParaRPr lang="en-GB" sz="20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457200" indent="-457200">
              <a:buFont typeface="+mj-lt"/>
              <a:buAutoNum type="arabicPeriod"/>
            </a:pPr>
            <a:endParaRPr lang="en-GB" sz="20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ru-RU" sz="20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Повышение устойчивости за счет экологизации региональной энергетической системы</a:t>
            </a:r>
            <a:endParaRPr lang="en-US" sz="2000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120092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43">
            <a:extLst>
              <a:ext uri="{FF2B5EF4-FFF2-40B4-BE49-F238E27FC236}">
                <a16:creationId xmlns:a16="http://schemas.microsoft.com/office/drawing/2014/main" id="{B0D23A5C-406B-A3DB-175D-EE84689FCDB1}"/>
              </a:ext>
            </a:extLst>
          </p:cNvPr>
          <p:cNvSpPr/>
          <p:nvPr/>
        </p:nvSpPr>
        <p:spPr>
          <a:xfrm>
            <a:off x="-1" y="6636981"/>
            <a:ext cx="6420255" cy="2210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395ECF5-8828-6A44-A583-20F5B8B65179}"/>
              </a:ext>
            </a:extLst>
          </p:cNvPr>
          <p:cNvSpPr txBox="1">
            <a:spLocks/>
          </p:cNvSpPr>
          <p:nvPr/>
        </p:nvSpPr>
        <p:spPr>
          <a:xfrm>
            <a:off x="671980" y="477947"/>
            <a:ext cx="7886700" cy="846975"/>
          </a:xfrm>
          <a:prstGeom prst="rect">
            <a:avLst/>
          </a:prstGeom>
        </p:spPr>
        <p:txBody>
          <a:bodyPr>
            <a:normAutofit fontScale="8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0" b="0" i="0" u="none" strike="noStrike" kern="1200" cap="none" spc="0" normalizeH="0" baseline="0" noProof="0" dirty="0">
                <a:ln>
                  <a:noFill/>
                </a:ln>
                <a:solidFill>
                  <a:srgbClr val="007DB7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Рабочая программа ККЭС на 2020-2022 </a:t>
            </a:r>
            <a:r>
              <a:rPr kumimoji="0" lang="ru-RU" sz="4000" b="0" i="0" u="none" strike="noStrike" kern="1200" cap="none" spc="0" normalizeH="0" baseline="0" noProof="0" dirty="0" err="1">
                <a:ln>
                  <a:noFill/>
                </a:ln>
                <a:solidFill>
                  <a:srgbClr val="007DB7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гг</a:t>
            </a:r>
            <a:r>
              <a:rPr kumimoji="0" lang="ru-RU" sz="4000" b="0" i="0" u="none" strike="noStrike" kern="1200" cap="none" spc="0" normalizeH="0" baseline="0" noProof="0" dirty="0">
                <a:ln>
                  <a:noFill/>
                </a:ln>
                <a:solidFill>
                  <a:srgbClr val="007DB7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 реализована </a:t>
            </a:r>
            <a:endParaRPr kumimoji="0" lang="en-US" sz="4000" b="0" i="0" u="none" strike="noStrike" kern="1200" cap="none" spc="0" normalizeH="0" baseline="0" noProof="0" dirty="0">
              <a:ln>
                <a:noFill/>
              </a:ln>
              <a:solidFill>
                <a:srgbClr val="007DB7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</p:txBody>
      </p:sp>
      <p:graphicFrame>
        <p:nvGraphicFramePr>
          <p:cNvPr id="8" name="Table 8">
            <a:extLst>
              <a:ext uri="{FF2B5EF4-FFF2-40B4-BE49-F238E27FC236}">
                <a16:creationId xmlns:a16="http://schemas.microsoft.com/office/drawing/2014/main" id="{1D1A333D-3C96-3E21-07A5-3D5209752C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75732495"/>
              </p:ext>
            </p:extLst>
          </p:nvPr>
        </p:nvGraphicFramePr>
        <p:xfrm>
          <a:off x="1149679" y="1363906"/>
          <a:ext cx="6835303" cy="254679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35303">
                  <a:extLst>
                    <a:ext uri="{9D8B030D-6E8A-4147-A177-3AD203B41FA5}">
                      <a16:colId xmlns:a16="http://schemas.microsoft.com/office/drawing/2014/main" val="2501636413"/>
                    </a:ext>
                  </a:extLst>
                </a:gridCol>
              </a:tblGrid>
              <a:tr h="309346">
                <a:tc>
                  <a:txBody>
                    <a:bodyPr/>
                    <a:lstStyle/>
                    <a:p>
                      <a:r>
                        <a:rPr lang="ru-RU" sz="1400" dirty="0"/>
                        <a:t>Основные результаты, достигнутые в рамках рабочей энергетической программы ЦАРЭС на</a:t>
                      </a:r>
                      <a:r>
                        <a:rPr lang="en-US" sz="1400" dirty="0"/>
                        <a:t> 2020-2022 </a:t>
                      </a:r>
                      <a:r>
                        <a:rPr lang="ru-RU" sz="1400" dirty="0"/>
                        <a:t>гг.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81668503"/>
                  </a:ext>
                </a:extLst>
              </a:tr>
              <a:tr h="40037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solidFill>
                            <a:srgbClr val="000000"/>
                          </a:solidFill>
                          <a:effectLst/>
                          <a:uFill>
                            <a:solidFill>
                              <a:srgbClr val="000000"/>
                            </a:solidFill>
                          </a:uFill>
                          <a:latin typeface="Calibri" panose="020F0502020204030204" pitchFamily="34" charset="0"/>
                          <a:ea typeface="Trebuchet MS" panose="020B0603020202020204" pitchFamily="34" charset="0"/>
                          <a:cs typeface="Arial" panose="020B0604020202020204" pitchFamily="34" charset="0"/>
                        </a:rPr>
                        <a:t>Разработка концепции Центральноазиатской Ассоциации по сотрудничеству магистральных </a:t>
                      </a:r>
                      <a:r>
                        <a:rPr lang="ru-RU" sz="1400" dirty="0" err="1">
                          <a:solidFill>
                            <a:srgbClr val="000000"/>
                          </a:solidFill>
                          <a:effectLst/>
                          <a:uFill>
                            <a:solidFill>
                              <a:srgbClr val="000000"/>
                            </a:solidFill>
                          </a:uFill>
                          <a:latin typeface="Calibri" panose="020F0502020204030204" pitchFamily="34" charset="0"/>
                          <a:ea typeface="Trebuchet MS" panose="020B0603020202020204" pitchFamily="34" charset="0"/>
                          <a:cs typeface="Arial" panose="020B0604020202020204" pitchFamily="34" charset="0"/>
                        </a:rPr>
                        <a:t>энергооператоров</a:t>
                      </a:r>
                      <a:r>
                        <a:rPr lang="ru-RU" sz="1400" dirty="0">
                          <a:solidFill>
                            <a:srgbClr val="000000"/>
                          </a:solidFill>
                          <a:effectLst/>
                          <a:uFill>
                            <a:solidFill>
                              <a:srgbClr val="000000"/>
                            </a:solidFill>
                          </a:uFill>
                          <a:latin typeface="Calibri" panose="020F0502020204030204" pitchFamily="34" charset="0"/>
                          <a:ea typeface="Trebuchet MS" panose="020B0603020202020204" pitchFamily="34" charset="0"/>
                          <a:cs typeface="Arial" panose="020B0604020202020204" pitchFamily="34" charset="0"/>
                        </a:rPr>
                        <a:t> (CATCA) 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63331548"/>
                  </a:ext>
                </a:extLst>
              </a:tr>
              <a:tr h="40037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solidFill>
                            <a:srgbClr val="000000"/>
                          </a:solidFill>
                          <a:effectLst/>
                          <a:uFill>
                            <a:solidFill>
                              <a:srgbClr val="000000"/>
                            </a:solidFill>
                          </a:uFill>
                          <a:latin typeface="Calibri" panose="020F0502020204030204" pitchFamily="34" charset="0"/>
                          <a:ea typeface="Trebuchet MS" panose="020B0603020202020204" pitchFamily="34" charset="0"/>
                          <a:cs typeface="Arial" panose="020B0604020202020204" pitchFamily="34" charset="0"/>
                        </a:rPr>
                        <a:t>Создание концепции Альянса ЦАРЭС по зелёной энергетике 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53638526"/>
                  </a:ext>
                </a:extLst>
              </a:tr>
              <a:tr h="40037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solidFill>
                            <a:srgbClr val="000000"/>
                          </a:solidFill>
                          <a:effectLst/>
                          <a:uFill>
                            <a:solidFill>
                              <a:srgbClr val="000000"/>
                            </a:solidFill>
                          </a:uFill>
                          <a:latin typeface="Calibri" panose="020F0502020204030204" pitchFamily="34" charset="0"/>
                          <a:ea typeface="Trebuchet MS" panose="020B0603020202020204" pitchFamily="34" charset="0"/>
                          <a:cs typeface="Arial" panose="020B0604020202020204" pitchFamily="34" charset="0"/>
                        </a:rPr>
                        <a:t>Публикация Энергетического прогноза региона ЦАРЭС на период до 2030г </a:t>
                      </a:r>
                      <a:endParaRPr lang="en-US" sz="1600" dirty="0">
                        <a:solidFill>
                          <a:srgbClr val="000000"/>
                        </a:solidFill>
                        <a:effectLst/>
                        <a:uFill>
                          <a:solidFill>
                            <a:srgbClr val="000000"/>
                          </a:solidFill>
                        </a:uFill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42678743"/>
                  </a:ext>
                </a:extLst>
              </a:tr>
              <a:tr h="40037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solidFill>
                            <a:srgbClr val="000000"/>
                          </a:solidFill>
                          <a:effectLst/>
                          <a:uFill>
                            <a:solidFill>
                              <a:srgbClr val="000000"/>
                            </a:solidFill>
                          </a:uFill>
                          <a:latin typeface="Calibri" panose="020F0502020204030204" pitchFamily="34" charset="0"/>
                          <a:ea typeface="Trebuchet MS" panose="020B0603020202020204" pitchFamily="34" charset="0"/>
                          <a:cs typeface="Arial" panose="020B0604020202020204" pitchFamily="34" charset="0"/>
                        </a:rPr>
                        <a:t>Атлас энергетических реформ региона ЦАРЭС 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20871330"/>
                  </a:ext>
                </a:extLst>
              </a:tr>
              <a:tr h="309346">
                <a:tc>
                  <a:txBody>
                    <a:bodyPr/>
                    <a:lstStyle/>
                    <a:p>
                      <a:r>
                        <a:rPr lang="ru-RU" sz="1400" dirty="0">
                          <a:solidFill>
                            <a:srgbClr val="000000"/>
                          </a:solidFill>
                          <a:effectLst/>
                          <a:uFill>
                            <a:solidFill>
                              <a:srgbClr val="000000"/>
                            </a:solidFill>
                          </a:uFill>
                          <a:latin typeface="Calibri" panose="020F0502020204030204" pitchFamily="34" charset="0"/>
                          <a:ea typeface="Trebuchet MS" panose="020B0603020202020204" pitchFamily="34" charset="0"/>
                          <a:cs typeface="Arial" panose="020B0604020202020204" pitchFamily="34" charset="0"/>
                        </a:rPr>
                        <a:t>Реализация программы «Женщины региона ЦАРЭС в энергетике»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33314772"/>
                  </a:ext>
                </a:extLst>
              </a:tr>
            </a:tbl>
          </a:graphicData>
        </a:graphic>
      </p:graphicFrame>
      <p:pic>
        <p:nvPicPr>
          <p:cNvPr id="23" name="Picture 22" descr="A close up of a logo&#10;&#10;Description automatically generated">
            <a:extLst>
              <a:ext uri="{FF2B5EF4-FFF2-40B4-BE49-F238E27FC236}">
                <a16:creationId xmlns:a16="http://schemas.microsoft.com/office/drawing/2014/main" id="{05B91402-6838-49C6-9596-03E7E2523F2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3605" y="90709"/>
            <a:ext cx="950150" cy="950150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02B26A75-3268-919C-BE0F-0223574E812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55515" y="4270010"/>
            <a:ext cx="1818584" cy="2366971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36195" dist="12700" dir="11400000" algn="tl" rotWithShape="0">
              <a:srgbClr val="000000">
                <a:alpha val="33000"/>
              </a:srgbClr>
            </a:outerShdw>
          </a:effectLst>
          <a:scene3d>
            <a:camera prst="perspectiveContrastingLeftFacing">
              <a:rot lat="540000" lon="2100000" rev="0"/>
            </a:camera>
            <a:lightRig rig="soft" dir="t"/>
          </a:scene3d>
          <a:sp3d contourW="12700" prstMaterial="matte">
            <a:bevelT w="63500" h="50800"/>
            <a:contourClr>
              <a:srgbClr val="C0C0C0"/>
            </a:contourClr>
          </a:sp3d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03AFD81C-6A6D-8E1E-E479-76E667885B0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45999" y="4270011"/>
            <a:ext cx="1877966" cy="2434401"/>
          </a:xfrm>
          <a:prstGeom prst="rect">
            <a:avLst/>
          </a:prstGeom>
          <a:ln>
            <a:noFill/>
          </a:ln>
          <a:effectLst>
            <a:reflection blurRad="12700" stA="30000" endPos="30000" dist="5000" dir="5400000" sy="-100000" algn="bl" rotWithShape="0"/>
          </a:effectLst>
          <a:scene3d>
            <a:camera prst="perspectiveContrastingLeftFacing">
              <a:rot lat="300000" lon="19800000" rev="0"/>
            </a:camera>
            <a:lightRig rig="threePt" dir="t">
              <a:rot lat="0" lon="0" rev="2700000"/>
            </a:lightRig>
          </a:scene3d>
          <a:sp3d>
            <a:bevelT w="63500" h="50800"/>
          </a:sp3d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CA32FB9F-BEAF-C96A-5366-152D0DEA817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96070" y="4289655"/>
            <a:ext cx="1881793" cy="2434403"/>
          </a:xfrm>
          <a:prstGeom prst="rect">
            <a:avLst/>
          </a:prstGeom>
          <a:ln>
            <a:noFill/>
          </a:ln>
          <a:effectLst>
            <a:reflection blurRad="12700" stA="30000" endPos="30000" dist="5000" dir="5400000" sy="-100000" algn="bl" rotWithShape="0"/>
          </a:effectLst>
          <a:scene3d>
            <a:camera prst="perspectiveContrastingLeftFacing">
              <a:rot lat="300000" lon="19800000" rev="0"/>
            </a:camera>
            <a:lightRig rig="threePt" dir="t">
              <a:rot lat="0" lon="0" rev="2700000"/>
            </a:lightRig>
          </a:scene3d>
          <a:sp3d>
            <a:bevelT w="63500" h="50800"/>
          </a:sp3d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FC2D52D8-4B06-48B0-663C-F0A5C7C0AEB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4386607"/>
            <a:ext cx="1672462" cy="2384286"/>
          </a:xfrm>
          <a:prstGeom prst="rect">
            <a:avLst/>
          </a:prstGeom>
          <a:ln>
            <a:noFill/>
          </a:ln>
          <a:effectLst>
            <a:reflection blurRad="12700" stA="30000" endPos="30000" dist="5000" dir="5400000" sy="-100000" algn="bl" rotWithShape="0"/>
          </a:effectLst>
          <a:scene3d>
            <a:camera prst="perspectiveContrastingLeftFacing">
              <a:rot lat="300000" lon="19800000" rev="0"/>
            </a:camera>
            <a:lightRig rig="threePt" dir="t">
              <a:rot lat="0" lon="0" rev="2700000"/>
            </a:lightRig>
          </a:scene3d>
          <a:sp3d>
            <a:bevelT w="63500" h="50800"/>
          </a:sp3d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03DF1BB2-E02C-3D7C-121E-9CAB95106F3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401470" y="4289655"/>
            <a:ext cx="1743619" cy="2434402"/>
          </a:xfrm>
          <a:prstGeom prst="rect">
            <a:avLst/>
          </a:prstGeom>
          <a:ln>
            <a:noFill/>
          </a:ln>
          <a:effectLst>
            <a:reflection blurRad="12700" stA="30000" endPos="30000" dist="5000" dir="5400000" sy="-100000" algn="bl" rotWithShape="0"/>
          </a:effectLst>
          <a:scene3d>
            <a:camera prst="perspectiveContrastingLeftFacing">
              <a:rot lat="300000" lon="19800000" rev="0"/>
            </a:camera>
            <a:lightRig rig="threePt" dir="t">
              <a:rot lat="0" lon="0" rev="2700000"/>
            </a:lightRig>
          </a:scene3d>
          <a:sp3d>
            <a:bevelT w="63500" h="50800"/>
          </a:sp3d>
        </p:spPr>
      </p:pic>
    </p:spTree>
    <p:extLst>
      <p:ext uri="{BB962C8B-B14F-4D97-AF65-F5344CB8AC3E}">
        <p14:creationId xmlns:p14="http://schemas.microsoft.com/office/powerpoint/2010/main" val="366842210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CE00693D-5033-E44F-BFF1-42BFDAB584C1}"/>
              </a:ext>
            </a:extLst>
          </p:cNvPr>
          <p:cNvSpPr txBox="1">
            <a:spLocks/>
          </p:cNvSpPr>
          <p:nvPr/>
        </p:nvSpPr>
        <p:spPr>
          <a:xfrm>
            <a:off x="375315" y="278813"/>
            <a:ext cx="7886700" cy="762046"/>
          </a:xfrm>
          <a:prstGeom prst="rect">
            <a:avLst/>
          </a:prstGeom>
        </p:spPr>
        <p:txBody>
          <a:bodyPr>
            <a:normAutofit fontScale="75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900" b="0" i="0" u="none" strike="noStrike" kern="1200" cap="none" spc="0" normalizeH="0" baseline="0" noProof="0" dirty="0">
                <a:ln>
                  <a:noFill/>
                </a:ln>
                <a:solidFill>
                  <a:srgbClr val="007DB7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Рабочая программа ККЭС на период 2023-2025 </a:t>
            </a:r>
            <a:endParaRPr kumimoji="0" lang="en-US" sz="3900" b="0" i="0" u="none" strike="noStrike" kern="1200" cap="none" spc="0" normalizeH="0" baseline="0" noProof="0" dirty="0">
              <a:ln>
                <a:noFill/>
              </a:ln>
              <a:solidFill>
                <a:srgbClr val="007DB7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E2B2F0D-8139-F55D-63FF-262CBFC11519}"/>
              </a:ext>
            </a:extLst>
          </p:cNvPr>
          <p:cNvSpPr txBox="1"/>
          <p:nvPr/>
        </p:nvSpPr>
        <p:spPr>
          <a:xfrm>
            <a:off x="584871" y="823122"/>
            <a:ext cx="8239328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400" dirty="0"/>
              <a:t>Основой предложенной рабочей программы являются  взаимодействие и встречи -&gt; использование ранее разработанных продуктов знаний, координация с прочими партнерами по развитию</a:t>
            </a:r>
            <a:r>
              <a:rPr lang="en-US" sz="2400" dirty="0"/>
              <a:t>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400" dirty="0"/>
              <a:t>Соответствует энергетической стратегии ЦАРЭС: </a:t>
            </a:r>
            <a:r>
              <a:rPr lang="ru-RU" sz="2400" b="1" dirty="0"/>
              <a:t>взаимосвязанность, масштабные инвестиции и устойчивость</a:t>
            </a:r>
            <a:r>
              <a:rPr lang="en-US" sz="2400" dirty="0"/>
              <a:t>.</a:t>
            </a:r>
            <a:endParaRPr lang="en-US" dirty="0"/>
          </a:p>
        </p:txBody>
      </p:sp>
      <p:pic>
        <p:nvPicPr>
          <p:cNvPr id="15" name="Picture 14" descr="A close up of a logo&#10;&#10;Description automatically generated">
            <a:extLst>
              <a:ext uri="{FF2B5EF4-FFF2-40B4-BE49-F238E27FC236}">
                <a16:creationId xmlns:a16="http://schemas.microsoft.com/office/drawing/2014/main" id="{C14EEEFE-8646-2883-2619-4DBE0415A43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3605" y="90709"/>
            <a:ext cx="950150" cy="950150"/>
          </a:xfrm>
          <a:prstGeom prst="rect">
            <a:avLst/>
          </a:prstGeom>
        </p:spPr>
      </p:pic>
      <p:graphicFrame>
        <p:nvGraphicFramePr>
          <p:cNvPr id="20" name="Table 20">
            <a:extLst>
              <a:ext uri="{FF2B5EF4-FFF2-40B4-BE49-F238E27FC236}">
                <a16:creationId xmlns:a16="http://schemas.microsoft.com/office/drawing/2014/main" id="{FDBD129F-1613-32CF-B669-1813ACB8DD4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1564932"/>
              </p:ext>
            </p:extLst>
          </p:nvPr>
        </p:nvGraphicFramePr>
        <p:xfrm>
          <a:off x="941281" y="3820747"/>
          <a:ext cx="7882918" cy="2758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96189">
                  <a:extLst>
                    <a:ext uri="{9D8B030D-6E8A-4147-A177-3AD203B41FA5}">
                      <a16:colId xmlns:a16="http://schemas.microsoft.com/office/drawing/2014/main" val="638537860"/>
                    </a:ext>
                  </a:extLst>
                </a:gridCol>
                <a:gridCol w="2986729">
                  <a:extLst>
                    <a:ext uri="{9D8B030D-6E8A-4147-A177-3AD203B41FA5}">
                      <a16:colId xmlns:a16="http://schemas.microsoft.com/office/drawing/2014/main" val="3805711825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ru-RU" dirty="0"/>
                        <a:t>Мероприятия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Даты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0303863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Совещание старших должностных лиц  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13-14 июня</a:t>
                      </a:r>
                      <a:r>
                        <a:rPr lang="en-US" dirty="0"/>
                        <a:t>, 202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21830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Энергетический инвестиционный форум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28-29 ноября, 2023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89825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Семинар по региональной </a:t>
                      </a:r>
                      <a:r>
                        <a:rPr lang="ru-RU" dirty="0" err="1"/>
                        <a:t>энергопередаче</a:t>
                      </a:r>
                      <a:r>
                        <a:rPr lang="ru-RU" dirty="0"/>
                        <a:t> и электросетевой инфраструктуре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Подлежит уточнению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786025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Семинар по энергоэффективности 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Подлежит уточнению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478642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Учебно-ознакомительная поездка в одну из стран Скандинавского региона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Июнь </a:t>
                      </a:r>
                      <a:r>
                        <a:rPr lang="en-US" dirty="0"/>
                        <a:t>202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9915830"/>
                  </a:ext>
                </a:extLst>
              </a:tr>
            </a:tbl>
          </a:graphicData>
        </a:graphic>
      </p:graphicFrame>
      <p:sp>
        <p:nvSpPr>
          <p:cNvPr id="21" name="Rectangle 20">
            <a:extLst>
              <a:ext uri="{FF2B5EF4-FFF2-40B4-BE49-F238E27FC236}">
                <a16:creationId xmlns:a16="http://schemas.microsoft.com/office/drawing/2014/main" id="{ACAB39DC-F85B-3491-9027-A6268F5AE818}"/>
              </a:ext>
            </a:extLst>
          </p:cNvPr>
          <p:cNvSpPr/>
          <p:nvPr/>
        </p:nvSpPr>
        <p:spPr>
          <a:xfrm>
            <a:off x="-1" y="6636981"/>
            <a:ext cx="6420255" cy="2210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235917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CE00693D-5033-E44F-BFF1-42BFDAB584C1}"/>
              </a:ext>
            </a:extLst>
          </p:cNvPr>
          <p:cNvSpPr txBox="1">
            <a:spLocks/>
          </p:cNvSpPr>
          <p:nvPr/>
        </p:nvSpPr>
        <p:spPr>
          <a:xfrm>
            <a:off x="332883" y="362681"/>
            <a:ext cx="7886700" cy="762046"/>
          </a:xfrm>
          <a:prstGeom prst="rect">
            <a:avLst/>
          </a:prstGeom>
        </p:spPr>
        <p:txBody>
          <a:bodyPr>
            <a:normAutofit fontScale="75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900" b="0" i="0" u="none" strike="noStrike" kern="1200" cap="none" spc="0" normalizeH="0" baseline="0" noProof="0" dirty="0">
                <a:ln>
                  <a:noFill/>
                </a:ln>
                <a:solidFill>
                  <a:srgbClr val="007DB7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Энергетический инвестиционный форум  - ноябрь 2023</a:t>
            </a:r>
            <a:endParaRPr kumimoji="0" lang="en-US" sz="3900" b="0" i="0" u="none" strike="noStrike" kern="1200" cap="none" spc="0" normalizeH="0" baseline="0" noProof="0" dirty="0">
              <a:ln>
                <a:noFill/>
              </a:ln>
              <a:solidFill>
                <a:srgbClr val="007DB7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1A7179E-B3CD-00BB-2081-D94D575CC3E0}"/>
              </a:ext>
            </a:extLst>
          </p:cNvPr>
          <p:cNvSpPr txBox="1"/>
          <p:nvPr/>
        </p:nvSpPr>
        <p:spPr>
          <a:xfrm>
            <a:off x="559718" y="1064699"/>
            <a:ext cx="8251399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Основная тематика ЭИФ - </a:t>
            </a:r>
            <a:r>
              <a:rPr lang="ru-RU" b="1" i="0" dirty="0">
                <a:solidFill>
                  <a:srgbClr val="0070C0"/>
                </a:solidFill>
                <a:effectLst/>
              </a:rPr>
              <a:t>«Возобновляемые источники энергии, энергетическая безопасность и отопление». </a:t>
            </a:r>
            <a:r>
              <a:rPr lang="ru-RU" b="0" i="0" dirty="0">
                <a:solidFill>
                  <a:srgbClr val="000000"/>
                </a:solidFill>
                <a:effectLst/>
              </a:rPr>
              <a:t>ЭИФ планируется провести в Грузии в ноябре, накануне 22ого Конференции министров </a:t>
            </a:r>
            <a:r>
              <a:rPr lang="ru-RU" dirty="0">
                <a:solidFill>
                  <a:srgbClr val="000000"/>
                </a:solidFill>
              </a:rPr>
              <a:t>стран ЦАРЭС</a:t>
            </a:r>
            <a:r>
              <a:rPr lang="ru-RU" b="0" i="0" dirty="0">
                <a:solidFill>
                  <a:srgbClr val="000000"/>
                </a:solidFill>
                <a:effectLst/>
              </a:rPr>
              <a:t>, созываемой 30 ноября</a:t>
            </a:r>
            <a:r>
              <a:rPr lang="en-US" sz="1800" dirty="0">
                <a:effectLst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b="0" i="0" dirty="0">
                <a:solidFill>
                  <a:srgbClr val="000000"/>
                </a:solidFill>
                <a:effectLst/>
              </a:rPr>
              <a:t>Приглашаются финансовые учреждения, проектировщики, инвесторы, поставщики оборудования, </a:t>
            </a:r>
            <a:r>
              <a:rPr lang="ru-RU" dirty="0">
                <a:solidFill>
                  <a:srgbClr val="000000"/>
                </a:solidFill>
              </a:rPr>
              <a:t>EPC-подрядчики, </a:t>
            </a:r>
            <a:r>
              <a:rPr lang="ru-RU" b="0" i="0" dirty="0">
                <a:solidFill>
                  <a:srgbClr val="000000"/>
                </a:solidFill>
                <a:effectLst/>
              </a:rPr>
              <a:t>международные доноры, представители государственных структур и энергосбытовых предприятий</a:t>
            </a:r>
            <a:r>
              <a:rPr lang="en-US" dirty="0"/>
              <a:t>.</a:t>
            </a:r>
          </a:p>
          <a:p>
            <a:endParaRPr lang="en-US" dirty="0"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000000"/>
                </a:solidFill>
              </a:rPr>
              <a:t>Для стран-участниц ЦАРЭС ЭИФ является платформой, </a:t>
            </a:r>
            <a:r>
              <a:rPr lang="ru-RU" b="0" i="0" dirty="0">
                <a:solidFill>
                  <a:srgbClr val="000000"/>
                </a:solidFill>
                <a:effectLst/>
              </a:rPr>
              <a:t>где происходит смычка энергетических  проектов с частными компаниями, финансовыми институтами и партнерами по развитию</a:t>
            </a:r>
            <a:endParaRPr lang="en-US" sz="1800" dirty="0">
              <a:effectLst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b="0" i="0" dirty="0">
                <a:solidFill>
                  <a:srgbClr val="000000"/>
                </a:solidFill>
                <a:effectLst/>
              </a:rPr>
              <a:t>Странам-участницам ЦАРЭС предлагается использовать этот форум в качестве платформы для </a:t>
            </a:r>
            <a:r>
              <a:rPr lang="ru-RU" dirty="0">
                <a:solidFill>
                  <a:srgbClr val="000000"/>
                </a:solidFill>
              </a:rPr>
              <a:t>презентации компаниям и партнерам по развитию 1-2 </a:t>
            </a:r>
            <a:r>
              <a:rPr lang="ru-RU" b="0" i="0" dirty="0">
                <a:solidFill>
                  <a:srgbClr val="000000"/>
                </a:solidFill>
                <a:effectLst/>
              </a:rPr>
              <a:t>готовых к инвестициям проектов.</a:t>
            </a:r>
            <a:endParaRPr lang="en-US" sz="1800" dirty="0">
              <a:effectLst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b="1" dirty="0">
                <a:effectLst/>
                <a:ea typeface="Calibri" panose="020F0502020204030204" pitchFamily="34" charset="0"/>
                <a:cs typeface="Arial" panose="020B0604020202020204" pitchFamily="34" charset="0"/>
              </a:rPr>
              <a:t>Следующий шаг: назначить 1-2 контактных лица от каждой страны-участницы, которые могут участвовать в группе планирования мероприятий форума.</a:t>
            </a:r>
            <a:endParaRPr lang="en-US" dirty="0">
              <a:cs typeface="Arial" panose="020B0604020202020204" pitchFamily="34" charset="0"/>
            </a:endParaRPr>
          </a:p>
        </p:txBody>
      </p:sp>
      <p:pic>
        <p:nvPicPr>
          <p:cNvPr id="4" name="Picture 3" descr="A close up of a logo&#10;&#10;Description automatically generated">
            <a:extLst>
              <a:ext uri="{FF2B5EF4-FFF2-40B4-BE49-F238E27FC236}">
                <a16:creationId xmlns:a16="http://schemas.microsoft.com/office/drawing/2014/main" id="{5C23932B-B15A-5E4E-33A8-DBED8199FCC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3605" y="90709"/>
            <a:ext cx="950150" cy="95015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3EFAD4A2-AFD8-C5BF-1F2E-B4AA86A09E42}"/>
              </a:ext>
            </a:extLst>
          </p:cNvPr>
          <p:cNvSpPr/>
          <p:nvPr/>
        </p:nvSpPr>
        <p:spPr>
          <a:xfrm>
            <a:off x="-1" y="6636981"/>
            <a:ext cx="6420255" cy="2210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323212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lose up of a logo&#10;&#10;Description automatically generated">
            <a:extLst>
              <a:ext uri="{FF2B5EF4-FFF2-40B4-BE49-F238E27FC236}">
                <a16:creationId xmlns:a16="http://schemas.microsoft.com/office/drawing/2014/main" id="{5C23932B-B15A-5E4E-33A8-DBED8199FCC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3605" y="90709"/>
            <a:ext cx="950150" cy="95015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44526973-F3DF-379B-0254-42422E89726D}"/>
              </a:ext>
            </a:extLst>
          </p:cNvPr>
          <p:cNvSpPr txBox="1"/>
          <p:nvPr/>
        </p:nvSpPr>
        <p:spPr>
          <a:xfrm>
            <a:off x="353399" y="1778214"/>
            <a:ext cx="8205281" cy="3416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ru-RU" b="1" i="0" dirty="0">
                <a:solidFill>
                  <a:srgbClr val="374151"/>
                </a:solidFill>
                <a:effectLst/>
                <a:latin typeface="Söhne"/>
              </a:rPr>
              <a:t>Семинар по региональной </a:t>
            </a:r>
            <a:r>
              <a:rPr lang="ru-RU" b="1" i="0" dirty="0" err="1">
                <a:solidFill>
                  <a:srgbClr val="374151"/>
                </a:solidFill>
                <a:effectLst/>
                <a:latin typeface="Söhne"/>
              </a:rPr>
              <a:t>энергопередаче</a:t>
            </a:r>
            <a:r>
              <a:rPr lang="ru-RU" b="1" i="0" dirty="0">
                <a:solidFill>
                  <a:srgbClr val="374151"/>
                </a:solidFill>
                <a:effectLst/>
                <a:latin typeface="Söhne"/>
              </a:rPr>
              <a:t> и электросетевой инфраструктуре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ru-RU" b="0" i="0" dirty="0">
                <a:solidFill>
                  <a:srgbClr val="374151"/>
                </a:solidFill>
                <a:effectLst/>
                <a:latin typeface="Söhne"/>
              </a:rPr>
              <a:t>Встреча технических экспертов из стран-участниц ЦАРЭС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ru-RU" b="0" i="0" dirty="0">
                <a:solidFill>
                  <a:srgbClr val="374151"/>
                </a:solidFill>
                <a:effectLst/>
                <a:latin typeface="Söhne"/>
              </a:rPr>
              <a:t>Выявление потенциальных улучшений в региональной сетевой инфраструктуре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ru-RU" b="0" i="0" dirty="0">
                <a:solidFill>
                  <a:srgbClr val="374151"/>
                </a:solidFill>
                <a:effectLst/>
                <a:latin typeface="Söhne"/>
              </a:rPr>
              <a:t>Содействие укреплению сотрудничества и прозрачности на региональном энергорынке </a:t>
            </a:r>
          </a:p>
          <a:p>
            <a:pPr marL="0" lvl="1" algn="l"/>
            <a:r>
              <a:rPr lang="ru-RU" b="1" i="0" dirty="0">
                <a:solidFill>
                  <a:srgbClr val="374151"/>
                </a:solidFill>
                <a:effectLst/>
                <a:latin typeface="Söhne"/>
              </a:rPr>
              <a:t>Семинар по энергоэффективности в регионе ЦАРЭС 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ru-RU" b="0" i="0" dirty="0">
                <a:solidFill>
                  <a:srgbClr val="374151"/>
                </a:solidFill>
                <a:effectLst/>
                <a:latin typeface="Söhne"/>
              </a:rPr>
              <a:t>Интегрирует экспертов в области энергетики, политиков и прочих стейкхолдеров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ru-RU" b="0" i="0" dirty="0">
                <a:solidFill>
                  <a:srgbClr val="374151"/>
                </a:solidFill>
                <a:effectLst/>
                <a:latin typeface="Söhne"/>
              </a:rPr>
              <a:t>Поощряет обмен передовым опытом и инновационными технологиями</a:t>
            </a:r>
          </a:p>
          <a:p>
            <a:pPr marL="742950" lvl="1" indent="-285750" algn="l">
              <a:buFont typeface="Arial" panose="020B0604020202020204" pitchFamily="34" charset="0"/>
              <a:buChar char="•"/>
            </a:pPr>
            <a:r>
              <a:rPr lang="ru-RU" b="0" i="0" dirty="0">
                <a:solidFill>
                  <a:srgbClr val="374151"/>
                </a:solidFill>
                <a:effectLst/>
                <a:latin typeface="Söhne"/>
              </a:rPr>
              <a:t>Способствует разработке региональных планов действий и партнерств в области энергоэффективности</a:t>
            </a: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38769A45-7F77-5007-47F6-D9F8301CBEE0}"/>
              </a:ext>
            </a:extLst>
          </p:cNvPr>
          <p:cNvSpPr txBox="1">
            <a:spLocks/>
          </p:cNvSpPr>
          <p:nvPr/>
        </p:nvSpPr>
        <p:spPr>
          <a:xfrm>
            <a:off x="278454" y="828064"/>
            <a:ext cx="7886700" cy="762046"/>
          </a:xfrm>
          <a:prstGeom prst="rect">
            <a:avLst/>
          </a:prstGeom>
        </p:spPr>
        <p:txBody>
          <a:bodyPr>
            <a:normAutofit fontScale="75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900" b="0" i="0" u="none" strike="noStrike" kern="1200" cap="none" spc="0" normalizeH="0" baseline="0" noProof="0" dirty="0">
                <a:ln>
                  <a:noFill/>
                </a:ln>
                <a:solidFill>
                  <a:srgbClr val="007DB7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Предлагаемые семинары и наращивание потенциала </a:t>
            </a:r>
            <a:endParaRPr kumimoji="0" lang="en-US" sz="3900" b="0" i="0" u="none" strike="noStrike" kern="1200" cap="none" spc="0" normalizeH="0" baseline="0" noProof="0" dirty="0">
              <a:ln>
                <a:noFill/>
              </a:ln>
              <a:solidFill>
                <a:srgbClr val="007DB7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EFB60E1-ECE0-19AF-7B8F-96A8D98A6635}"/>
              </a:ext>
            </a:extLst>
          </p:cNvPr>
          <p:cNvSpPr txBox="1"/>
          <p:nvPr/>
        </p:nvSpPr>
        <p:spPr>
          <a:xfrm>
            <a:off x="353399" y="5317786"/>
            <a:ext cx="83625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/>
              <a:t>Следующий шаг: Объединение существующих рабочих групп ЦАРЭС по энергетике для содействия и инициирования процесса планирования</a:t>
            </a:r>
            <a:endParaRPr lang="en-US" b="1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176461A-BE75-007E-E70D-0FA6DD0C1A2A}"/>
              </a:ext>
            </a:extLst>
          </p:cNvPr>
          <p:cNvSpPr/>
          <p:nvPr/>
        </p:nvSpPr>
        <p:spPr>
          <a:xfrm>
            <a:off x="-1" y="6636981"/>
            <a:ext cx="6420255" cy="2210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574444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>
            <a:extLst>
              <a:ext uri="{FF2B5EF4-FFF2-40B4-BE49-F238E27FC236}">
                <a16:creationId xmlns:a16="http://schemas.microsoft.com/office/drawing/2014/main" id="{2952339F-ADD5-948C-3497-1A85A41480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8559" y="2135054"/>
            <a:ext cx="3861355" cy="38613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05518531-4BAC-17E7-025D-49731A9062D0}"/>
              </a:ext>
            </a:extLst>
          </p:cNvPr>
          <p:cNvSpPr txBox="1"/>
          <p:nvPr/>
        </p:nvSpPr>
        <p:spPr>
          <a:xfrm>
            <a:off x="152320" y="1741175"/>
            <a:ext cx="7931285" cy="50783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b="0" i="0" dirty="0">
                <a:solidFill>
                  <a:srgbClr val="374151"/>
                </a:solidFill>
                <a:effectLst/>
                <a:latin typeface="Söhne"/>
              </a:rPr>
              <a:t>Участники получат понимание и представление об успешных методах и инновационных решениях, применяемых на развитых энергорынках</a:t>
            </a:r>
          </a:p>
          <a:p>
            <a:pPr algn="l"/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b="0" i="0" dirty="0">
                <a:solidFill>
                  <a:srgbClr val="374151"/>
                </a:solidFill>
                <a:effectLst/>
                <a:latin typeface="Söhne"/>
              </a:rPr>
              <a:t>Изучение развитой инфраструктуры, законодательства и </a:t>
            </a:r>
            <a:r>
              <a:rPr lang="ru-RU" b="0" i="0" dirty="0" err="1">
                <a:solidFill>
                  <a:srgbClr val="374151"/>
                </a:solidFill>
                <a:effectLst/>
                <a:latin typeface="Söhne"/>
              </a:rPr>
              <a:t>либерализованного</a:t>
            </a:r>
            <a:r>
              <a:rPr lang="ru-RU" dirty="0">
                <a:solidFill>
                  <a:srgbClr val="374151"/>
                </a:solidFill>
                <a:latin typeface="Söhne"/>
              </a:rPr>
              <a:t> энерго</a:t>
            </a:r>
            <a:r>
              <a:rPr lang="ru-RU" b="0" i="0" dirty="0">
                <a:solidFill>
                  <a:srgbClr val="374151"/>
                </a:solidFill>
                <a:effectLst/>
                <a:latin typeface="Söhne"/>
              </a:rPr>
              <a:t>рынка</a:t>
            </a:r>
            <a:r>
              <a:rPr lang="en-US" b="0" i="0" dirty="0">
                <a:solidFill>
                  <a:srgbClr val="374151"/>
                </a:solidFill>
                <a:effectLst/>
                <a:latin typeface="Söhne"/>
              </a:rPr>
              <a:t>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b="0" i="0" dirty="0">
                <a:solidFill>
                  <a:srgbClr val="374151"/>
                </a:solidFill>
                <a:effectLst/>
                <a:latin typeface="Söhne"/>
              </a:rPr>
              <a:t>Понимание механизмов трансграничной </a:t>
            </a:r>
            <a:r>
              <a:rPr lang="ru-RU" b="0" i="0" dirty="0" err="1">
                <a:solidFill>
                  <a:srgbClr val="374151"/>
                </a:solidFill>
                <a:effectLst/>
                <a:latin typeface="Söhne"/>
              </a:rPr>
              <a:t>энерготорговли</a:t>
            </a:r>
            <a:r>
              <a:rPr lang="ru-RU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</a:p>
          <a:p>
            <a:pPr algn="l"/>
            <a:r>
              <a:rPr lang="ru-RU" b="0" i="0" dirty="0">
                <a:solidFill>
                  <a:srgbClr val="374151"/>
                </a:solidFill>
                <a:effectLst/>
                <a:latin typeface="Söhne"/>
              </a:rPr>
              <a:t>и инициатив по энергоэффективности, таких как </a:t>
            </a:r>
          </a:p>
          <a:p>
            <a:pPr algn="l"/>
            <a:r>
              <a:rPr lang="ru-RU" b="0" i="0" dirty="0">
                <a:solidFill>
                  <a:srgbClr val="374151"/>
                </a:solidFill>
                <a:effectLst/>
                <a:latin typeface="Söhne"/>
              </a:rPr>
              <a:t>системы централизованного теплоснабжения и </a:t>
            </a:r>
          </a:p>
          <a:p>
            <a:pPr algn="l"/>
            <a:r>
              <a:rPr lang="ru-RU" b="0" i="0" dirty="0">
                <a:solidFill>
                  <a:srgbClr val="374151"/>
                </a:solidFill>
                <a:effectLst/>
                <a:latin typeface="Söhne"/>
              </a:rPr>
              <a:t>технологии интеллектуальных </a:t>
            </a:r>
            <a:r>
              <a:rPr lang="ru-RU" dirty="0">
                <a:solidFill>
                  <a:srgbClr val="374151"/>
                </a:solidFill>
                <a:latin typeface="Söhne"/>
              </a:rPr>
              <a:t>энерго</a:t>
            </a:r>
            <a:r>
              <a:rPr lang="ru-RU" b="0" i="0" dirty="0">
                <a:solidFill>
                  <a:srgbClr val="374151"/>
                </a:solidFill>
                <a:effectLst/>
                <a:latin typeface="Söhne"/>
              </a:rPr>
              <a:t>сетей</a:t>
            </a: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b="1" i="0" dirty="0">
                <a:solidFill>
                  <a:srgbClr val="374151"/>
                </a:solidFill>
                <a:effectLst/>
                <a:latin typeface="Söhne"/>
              </a:rPr>
              <a:t>Предлагаемое время и место проведения: одна из стран Скандинавского региона в середине </a:t>
            </a:r>
            <a:r>
              <a:rPr lang="en-US" b="1" i="0" dirty="0">
                <a:solidFill>
                  <a:srgbClr val="374151"/>
                </a:solidFill>
                <a:effectLst/>
                <a:latin typeface="Söhne"/>
              </a:rPr>
              <a:t>2024</a:t>
            </a:r>
            <a:r>
              <a:rPr lang="ru-RU" b="1" i="0" dirty="0">
                <a:solidFill>
                  <a:srgbClr val="374151"/>
                </a:solidFill>
                <a:effectLst/>
                <a:latin typeface="Söhne"/>
              </a:rPr>
              <a:t> г.</a:t>
            </a:r>
            <a:endParaRPr lang="en-US" b="1" i="0" dirty="0">
              <a:solidFill>
                <a:srgbClr val="374151"/>
              </a:solidFill>
              <a:effectLst/>
              <a:latin typeface="Söhne"/>
            </a:endParaRPr>
          </a:p>
          <a:p>
            <a:pPr algn="l"/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39CAFFF4-4F3C-A030-4048-C51683D698C4}"/>
              </a:ext>
            </a:extLst>
          </p:cNvPr>
          <p:cNvSpPr txBox="1">
            <a:spLocks/>
          </p:cNvSpPr>
          <p:nvPr/>
        </p:nvSpPr>
        <p:spPr>
          <a:xfrm>
            <a:off x="569993" y="156050"/>
            <a:ext cx="7682499" cy="762046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3200" dirty="0">
                <a:solidFill>
                  <a:srgbClr val="007DB7">
                    <a:lumMod val="75000"/>
                  </a:srgbClr>
                </a:solidFill>
                <a:latin typeface="Calibri" panose="020F0502020204030204"/>
              </a:rPr>
              <a:t>Учебно-ознакомительный тур для изучения решений в области устойчивой энергетики в других регионах</a:t>
            </a: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007DB7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</p:txBody>
      </p:sp>
      <p:pic>
        <p:nvPicPr>
          <p:cNvPr id="10" name="Picture 9" descr="A close up of a logo&#10;&#10;Description automatically generated">
            <a:extLst>
              <a:ext uri="{FF2B5EF4-FFF2-40B4-BE49-F238E27FC236}">
                <a16:creationId xmlns:a16="http://schemas.microsoft.com/office/drawing/2014/main" id="{04EBF3EE-0943-3342-AA61-8EFC62251AB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3605" y="90709"/>
            <a:ext cx="950150" cy="95015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38EA838B-7C6C-6E34-70F5-0BA88347A9AD}"/>
              </a:ext>
            </a:extLst>
          </p:cNvPr>
          <p:cNvSpPr/>
          <p:nvPr/>
        </p:nvSpPr>
        <p:spPr>
          <a:xfrm>
            <a:off x="-1" y="6636981"/>
            <a:ext cx="6420255" cy="2210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10044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05518531-4BAC-17E7-025D-49731A9062D0}"/>
              </a:ext>
            </a:extLst>
          </p:cNvPr>
          <p:cNvSpPr txBox="1"/>
          <p:nvPr/>
        </p:nvSpPr>
        <p:spPr>
          <a:xfrm>
            <a:off x="606357" y="1859339"/>
            <a:ext cx="7931285" cy="25853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endParaRPr lang="en-US" sz="2400" b="0" i="0" dirty="0">
              <a:solidFill>
                <a:srgbClr val="374151"/>
              </a:solidFill>
              <a:effectLst/>
              <a:latin typeface="Söhne"/>
            </a:endParaRPr>
          </a:p>
          <a:p>
            <a:pPr algn="l"/>
            <a:endParaRPr lang="en-US" sz="2400" dirty="0">
              <a:solidFill>
                <a:srgbClr val="374151"/>
              </a:solidFill>
              <a:latin typeface="Söhne"/>
            </a:endParaRPr>
          </a:p>
          <a:p>
            <a:pPr algn="l"/>
            <a:endParaRPr lang="en-US" sz="4800" b="0" i="0" dirty="0">
              <a:solidFill>
                <a:srgbClr val="374151"/>
              </a:solidFill>
              <a:effectLst/>
              <a:latin typeface="Söhne"/>
            </a:endParaRPr>
          </a:p>
          <a:p>
            <a:pPr algn="l"/>
            <a:r>
              <a:rPr lang="ru-RU" sz="4800" b="0" i="0">
                <a:solidFill>
                  <a:srgbClr val="374151"/>
                </a:solidFill>
                <a:effectLst/>
                <a:latin typeface="Söhne"/>
              </a:rPr>
              <a:t>Благодарим за </a:t>
            </a:r>
            <a:r>
              <a:rPr lang="ru-RU" sz="4800" b="0" i="0" dirty="0">
                <a:solidFill>
                  <a:srgbClr val="374151"/>
                </a:solidFill>
                <a:effectLst/>
                <a:latin typeface="Söhne"/>
              </a:rPr>
              <a:t>внимание</a:t>
            </a:r>
            <a:r>
              <a:rPr lang="en-US" sz="4800" b="0" i="0" dirty="0">
                <a:solidFill>
                  <a:srgbClr val="374151"/>
                </a:solidFill>
                <a:effectLst/>
                <a:latin typeface="Söhne"/>
              </a:rPr>
              <a:t>!</a:t>
            </a:r>
            <a:endParaRPr lang="en-US" sz="4800" b="1" i="0" dirty="0">
              <a:solidFill>
                <a:srgbClr val="374151"/>
              </a:solidFill>
              <a:effectLst/>
              <a:latin typeface="Söhne"/>
            </a:endParaRPr>
          </a:p>
          <a:p>
            <a:pPr algn="l"/>
            <a:endParaRPr lang="en-US" b="0" i="0" dirty="0">
              <a:solidFill>
                <a:srgbClr val="374151"/>
              </a:solidFill>
              <a:effectLst/>
              <a:latin typeface="Söhne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39CAFFF4-4F3C-A030-4048-C51683D698C4}"/>
              </a:ext>
            </a:extLst>
          </p:cNvPr>
          <p:cNvSpPr txBox="1">
            <a:spLocks/>
          </p:cNvSpPr>
          <p:nvPr/>
        </p:nvSpPr>
        <p:spPr>
          <a:xfrm>
            <a:off x="667965" y="338801"/>
            <a:ext cx="7682499" cy="762046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007DB7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</p:txBody>
      </p:sp>
      <p:pic>
        <p:nvPicPr>
          <p:cNvPr id="10" name="Picture 9" descr="A close up of a logo&#10;&#10;Description automatically generated">
            <a:extLst>
              <a:ext uri="{FF2B5EF4-FFF2-40B4-BE49-F238E27FC236}">
                <a16:creationId xmlns:a16="http://schemas.microsoft.com/office/drawing/2014/main" id="{04EBF3EE-0943-3342-AA61-8EFC62251AB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3605" y="90709"/>
            <a:ext cx="950150" cy="95015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38EA838B-7C6C-6E34-70F5-0BA88347A9AD}"/>
              </a:ext>
            </a:extLst>
          </p:cNvPr>
          <p:cNvSpPr/>
          <p:nvPr/>
        </p:nvSpPr>
        <p:spPr>
          <a:xfrm>
            <a:off x="-1" y="6636981"/>
            <a:ext cx="6420255" cy="2210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43469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ADB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57F29"/>
      </a:accent1>
      <a:accent2>
        <a:srgbClr val="007DB7"/>
      </a:accent2>
      <a:accent3>
        <a:srgbClr val="A5A5A5"/>
      </a:accent3>
      <a:accent4>
        <a:srgbClr val="FFC000"/>
      </a:accent4>
      <a:accent5>
        <a:srgbClr val="009FD6"/>
      </a:accent5>
      <a:accent6>
        <a:srgbClr val="8DC63F"/>
      </a:accent6>
      <a:hlink>
        <a:srgbClr val="6DCFF6"/>
      </a:hlink>
      <a:folHlink>
        <a:srgbClr val="E9532B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Theme">
  <a:themeElements>
    <a:clrScheme name="ADB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57F29"/>
      </a:accent1>
      <a:accent2>
        <a:srgbClr val="007DB7"/>
      </a:accent2>
      <a:accent3>
        <a:srgbClr val="A5A5A5"/>
      </a:accent3>
      <a:accent4>
        <a:srgbClr val="FFC000"/>
      </a:accent4>
      <a:accent5>
        <a:srgbClr val="009FD6"/>
      </a:accent5>
      <a:accent6>
        <a:srgbClr val="8DC63F"/>
      </a:accent6>
      <a:hlink>
        <a:srgbClr val="6DCFF6"/>
      </a:hlink>
      <a:folHlink>
        <a:srgbClr val="E9532B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3_Office Theme">
  <a:themeElements>
    <a:clrScheme name="ADB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57F29"/>
      </a:accent1>
      <a:accent2>
        <a:srgbClr val="007DB7"/>
      </a:accent2>
      <a:accent3>
        <a:srgbClr val="A5A5A5"/>
      </a:accent3>
      <a:accent4>
        <a:srgbClr val="FFC000"/>
      </a:accent4>
      <a:accent5>
        <a:srgbClr val="009FD6"/>
      </a:accent5>
      <a:accent6>
        <a:srgbClr val="8DC63F"/>
      </a:accent6>
      <a:hlink>
        <a:srgbClr val="6DCFF6"/>
      </a:hlink>
      <a:folHlink>
        <a:srgbClr val="E9532B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5_Office Theme">
  <a:themeElements>
    <a:clrScheme name="ADB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57F29"/>
      </a:accent1>
      <a:accent2>
        <a:srgbClr val="007DB7"/>
      </a:accent2>
      <a:accent3>
        <a:srgbClr val="A5A5A5"/>
      </a:accent3>
      <a:accent4>
        <a:srgbClr val="FFC000"/>
      </a:accent4>
      <a:accent5>
        <a:srgbClr val="009FD6"/>
      </a:accent5>
      <a:accent6>
        <a:srgbClr val="8DC63F"/>
      </a:accent6>
      <a:hlink>
        <a:srgbClr val="6DCFF6"/>
      </a:hlink>
      <a:folHlink>
        <a:srgbClr val="E9532B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_Custom Design">
  <a:themeElements>
    <a:clrScheme name="6_Blue Theme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70C0"/>
      </a:accent1>
      <a:accent2>
        <a:srgbClr val="00B0F0"/>
      </a:accent2>
      <a:accent3>
        <a:srgbClr val="008DC3"/>
      </a:accent3>
      <a:accent4>
        <a:srgbClr val="007EAE"/>
      </a:accent4>
      <a:accent5>
        <a:srgbClr val="23A1FF"/>
      </a:accent5>
      <a:accent6>
        <a:srgbClr val="2FA6FF"/>
      </a:accent6>
      <a:hlink>
        <a:srgbClr val="005390"/>
      </a:hlink>
      <a:folHlink>
        <a:srgbClr val="2DC7FF"/>
      </a:folHlink>
    </a:clrScheme>
    <a:fontScheme name="Arial">
      <a:majorFont>
        <a:latin typeface="Arial"/>
        <a:ea typeface=""/>
        <a:cs typeface="FontAwesome"/>
      </a:majorFont>
      <a:minorFont>
        <a:latin typeface="Arial"/>
        <a:ea typeface=""/>
        <a:cs typeface="FontAwesome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C000"/>
        </a:solidFill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6.xml><?xml version="1.0" encoding="utf-8"?>
<a:theme xmlns:a="http://schemas.openxmlformats.org/drawingml/2006/main" name="WBG GEEDR Master">
  <a:themeElements>
    <a:clrScheme name="Marquee">
      <a:dk1>
        <a:srgbClr val="000000"/>
      </a:dk1>
      <a:lt1>
        <a:sysClr val="window" lastClr="FFFFFF"/>
      </a:lt1>
      <a:dk2>
        <a:srgbClr val="5E5E5E"/>
      </a:dk2>
      <a:lt2>
        <a:srgbClr val="DDDDDD"/>
      </a:lt2>
      <a:accent1>
        <a:srgbClr val="418AB3"/>
      </a:accent1>
      <a:accent2>
        <a:srgbClr val="A6B727"/>
      </a:accent2>
      <a:accent3>
        <a:srgbClr val="F69200"/>
      </a:accent3>
      <a:accent4>
        <a:srgbClr val="838383"/>
      </a:accent4>
      <a:accent5>
        <a:srgbClr val="FEC306"/>
      </a:accent5>
      <a:accent6>
        <a:srgbClr val="DF5327"/>
      </a:accent6>
      <a:hlink>
        <a:srgbClr val="F59E00"/>
      </a:hlink>
      <a:folHlink>
        <a:srgbClr val="B2B2B2"/>
      </a:folHlink>
    </a:clrScheme>
    <a:fontScheme name="World Bank Arial">
      <a:majorFont>
        <a:latin typeface="Arial Bold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cap="flat" cmpd="sng" algn="ctr">
          <a:solidFill>
            <a:schemeClr val="tx1"/>
          </a:solidFill>
          <a:prstDash val="solid"/>
          <a:round/>
          <a:headEnd type="none"/>
          <a:tailEnd type="none"/>
        </a:ln>
        <a:effectLst/>
      </a:spPr>
      <a:bodyPr rtlCol="0" anchor="ctr"/>
      <a:lstStyle>
        <a:defPPr algn="ctr">
          <a:defRPr/>
        </a:defPPr>
      </a:lstStyle>
    </a:spDef>
    <a:lnDef>
      <a:spPr bwMode="auto">
        <a:noFill/>
        <a:ln w="25400" cap="flat" cmpd="sng" algn="ctr">
          <a:solidFill>
            <a:schemeClr val="tx1">
              <a:lumMod val="90000"/>
              <a:lumOff val="10000"/>
            </a:schemeClr>
          </a:solidFill>
          <a:prstDash val="solid"/>
          <a:round/>
          <a:headEnd type="none"/>
          <a:tailEnd type="triangle"/>
        </a:ln>
        <a:effectLst/>
      </a:spPr>
      <a:bodyPr/>
      <a:lstStyle/>
    </a:lnDef>
    <a:txDef>
      <a:spPr>
        <a:solidFill>
          <a:schemeClr val="bg1"/>
        </a:solidFill>
      </a:spPr>
      <a:bodyPr wrap="square" rtlCol="0">
        <a:spAutoFit/>
      </a:bodyPr>
      <a:lstStyle>
        <a:defPPr algn="ctr">
          <a:defRPr sz="1100" dirty="0" smtClean="0">
            <a:latin typeface="+mn-lt"/>
          </a:defRPr>
        </a:defPPr>
      </a:lstStyle>
    </a:tx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NA Smack down_WaleedAlsuraih.pot [Compatibility Mode]" id="{261BAB89-1801-4C24-8452-229A40232CB0}" vid="{05F95141-70A3-45D9-8E33-0F693740E9D1}"/>
    </a:ext>
  </a:extLst>
</a:theme>
</file>

<file path=ppt/theme/theme7.xml><?xml version="1.0" encoding="utf-8"?>
<a:theme xmlns:a="http://schemas.openxmlformats.org/drawingml/2006/main" name="6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 Them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D424368B706EE4FB77F211FDCEB8A37" ma:contentTypeVersion="16" ma:contentTypeDescription="Create a new document." ma:contentTypeScope="" ma:versionID="a146991cc876cec1d754d84422dfc5b0">
  <xsd:schema xmlns:xsd="http://www.w3.org/2001/XMLSchema" xmlns:xs="http://www.w3.org/2001/XMLSchema" xmlns:p="http://schemas.microsoft.com/office/2006/metadata/properties" xmlns:ns2="e30a273d-d6ae-4788-9422-d2fa4deaadf4" xmlns:ns3="c0101cd4-d4a0-41a2-b320-d72d96077b7f" xmlns:ns4="c1fdd505-2570-46c2-bd04-3e0f2d874cf5" targetNamespace="http://schemas.microsoft.com/office/2006/metadata/properties" ma:root="true" ma:fieldsID="e9786f24088f1e24ae7b2ef756121c1d" ns2:_="" ns3:_="" ns4:_="">
    <xsd:import namespace="e30a273d-d6ae-4788-9422-d2fa4deaadf4"/>
    <xsd:import namespace="c0101cd4-d4a0-41a2-b320-d72d96077b7f"/>
    <xsd:import namespace="c1fdd505-2570-46c2-bd04-3e0f2d874cf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4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30a273d-d6ae-4788-9422-d2fa4deaadf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115af50e-efb3-4a0e-b425-875ff625e09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0101cd4-d4a0-41a2-b320-d72d96077b7f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1fdd505-2570-46c2-bd04-3e0f2d874cf5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7ccffee5-52ba-4ced-b964-e685bc4da251}" ma:internalName="TaxCatchAll" ma:showField="CatchAllData" ma:web="c0101cd4-d4a0-41a2-b320-d72d96077b7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e30a273d-d6ae-4788-9422-d2fa4deaadf4">
      <Terms xmlns="http://schemas.microsoft.com/office/infopath/2007/PartnerControls"/>
    </lcf76f155ced4ddcb4097134ff3c332f>
    <TaxCatchAll xmlns="c1fdd505-2570-46c2-bd04-3e0f2d874cf5" xsi:nil="true"/>
  </documentManagement>
</p:properties>
</file>

<file path=customXml/itemProps1.xml><?xml version="1.0" encoding="utf-8"?>
<ds:datastoreItem xmlns:ds="http://schemas.openxmlformats.org/officeDocument/2006/customXml" ds:itemID="{79616B6D-1232-45C2-9C42-48F0B0CB0E4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30a273d-d6ae-4788-9422-d2fa4deaadf4"/>
    <ds:schemaRef ds:uri="c0101cd4-d4a0-41a2-b320-d72d96077b7f"/>
    <ds:schemaRef ds:uri="c1fdd505-2570-46c2-bd04-3e0f2d874cf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101FE3A5-3F6A-49A2-8C28-64D9D3D34C1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6490453-5432-42C6-A352-E634B84C16C4}">
  <ds:schemaRefs>
    <ds:schemaRef ds:uri="c1fdd505-2570-46c2-bd04-3e0f2d874cf5"/>
    <ds:schemaRef ds:uri="e30a273d-d6ae-4788-9422-d2fa4deaadf4"/>
    <ds:schemaRef ds:uri="http://purl.org/dc/dcmitype/"/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schemas.openxmlformats.org/package/2006/metadata/core-properties"/>
    <ds:schemaRef ds:uri="http://purl.org/dc/terms/"/>
    <ds:schemaRef ds:uri="http://schemas.microsoft.com/office/infopath/2007/PartnerControls"/>
    <ds:schemaRef ds:uri="c0101cd4-d4a0-41a2-b320-d72d96077b7f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4553</TotalTime>
  <Words>504</Words>
  <Application>Microsoft Office PowerPoint</Application>
  <PresentationFormat>On-screen Show (4:3)</PresentationFormat>
  <Paragraphs>78</Paragraphs>
  <Slides>8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25" baseType="lpstr">
      <vt:lpstr>Andes ExtraLight</vt:lpstr>
      <vt:lpstr>Arial</vt:lpstr>
      <vt:lpstr>Arial Bold</vt:lpstr>
      <vt:lpstr>Calibri</vt:lpstr>
      <vt:lpstr>Calibri Light</vt:lpstr>
      <vt:lpstr>Open Sans</vt:lpstr>
      <vt:lpstr>Söhne</vt:lpstr>
      <vt:lpstr>Trebuchet MS</vt:lpstr>
      <vt:lpstr>Wingdings</vt:lpstr>
      <vt:lpstr>1_Office Theme</vt:lpstr>
      <vt:lpstr>2_Office Theme</vt:lpstr>
      <vt:lpstr>3_Office Theme</vt:lpstr>
      <vt:lpstr>5_Office Theme</vt:lpstr>
      <vt:lpstr>1_Custom Design</vt:lpstr>
      <vt:lpstr>WBG GEEDR Master</vt:lpstr>
      <vt:lpstr>6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arin Abado</dc:creator>
  <cp:lastModifiedBy>Yeskendirova, Almagul</cp:lastModifiedBy>
  <cp:revision>28</cp:revision>
  <dcterms:created xsi:type="dcterms:W3CDTF">2019-11-08T09:34:02Z</dcterms:created>
  <dcterms:modified xsi:type="dcterms:W3CDTF">2023-05-16T04:02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D424368B706EE4FB77F211FDCEB8A37</vt:lpwstr>
  </property>
  <property fmtid="{D5CDD505-2E9C-101B-9397-08002B2CF9AE}" pid="3" name="MSIP_Label_817d4574-7375-4d17-b29c-6e4c6df0fcb0_Enabled">
    <vt:lpwstr>true</vt:lpwstr>
  </property>
  <property fmtid="{D5CDD505-2E9C-101B-9397-08002B2CF9AE}" pid="4" name="MSIP_Label_817d4574-7375-4d17-b29c-6e4c6df0fcb0_SetDate">
    <vt:lpwstr>2023-05-12T01:16:10Z</vt:lpwstr>
  </property>
  <property fmtid="{D5CDD505-2E9C-101B-9397-08002B2CF9AE}" pid="5" name="MSIP_Label_817d4574-7375-4d17-b29c-6e4c6df0fcb0_Method">
    <vt:lpwstr>Standard</vt:lpwstr>
  </property>
  <property fmtid="{D5CDD505-2E9C-101B-9397-08002B2CF9AE}" pid="6" name="MSIP_Label_817d4574-7375-4d17-b29c-6e4c6df0fcb0_Name">
    <vt:lpwstr>ADB Internal</vt:lpwstr>
  </property>
  <property fmtid="{D5CDD505-2E9C-101B-9397-08002B2CF9AE}" pid="7" name="MSIP_Label_817d4574-7375-4d17-b29c-6e4c6df0fcb0_SiteId">
    <vt:lpwstr>9495d6bb-41c2-4c58-848f-92e52cf3d640</vt:lpwstr>
  </property>
  <property fmtid="{D5CDD505-2E9C-101B-9397-08002B2CF9AE}" pid="8" name="MSIP_Label_817d4574-7375-4d17-b29c-6e4c6df0fcb0_ActionId">
    <vt:lpwstr>bde44b8a-0049-4b3b-a449-88001a5e503a</vt:lpwstr>
  </property>
  <property fmtid="{D5CDD505-2E9C-101B-9397-08002B2CF9AE}" pid="9" name="MSIP_Label_817d4574-7375-4d17-b29c-6e4c6df0fcb0_ContentBits">
    <vt:lpwstr>2</vt:lpwstr>
  </property>
  <property fmtid="{D5CDD505-2E9C-101B-9397-08002B2CF9AE}" pid="10" name="ClassificationContentMarkingFooterLocations">
    <vt:lpwstr>1_Office Theme:5\2_Office Theme:5\3_Office Theme:5\5_Office Theme:7\1_Custom Design:3\WBG GEEDR Master:4\4_Office Theme:8\Default Theme:7\6_Office Theme:8\A4_RB_PPT:7</vt:lpwstr>
  </property>
  <property fmtid="{D5CDD505-2E9C-101B-9397-08002B2CF9AE}" pid="11" name="ClassificationContentMarkingFooterText">
    <vt:lpwstr>INTERNAL. This information is accessible to ADB Management and staff. It may be shared outside ADB with appropriate permission.</vt:lpwstr>
  </property>
  <property fmtid="{D5CDD505-2E9C-101B-9397-08002B2CF9AE}" pid="12" name="MediaServiceImageTags">
    <vt:lpwstr/>
  </property>
</Properties>
</file>